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698" r:id="rId3"/>
    <p:sldMasterId id="2147483706" r:id="rId4"/>
    <p:sldMasterId id="2147483719" r:id="rId5"/>
    <p:sldMasterId id="2147483731" r:id="rId6"/>
  </p:sldMasterIdLst>
  <p:notesMasterIdLst>
    <p:notesMasterId r:id="rId35"/>
  </p:notesMasterIdLst>
  <p:sldIdLst>
    <p:sldId id="256" r:id="rId7"/>
    <p:sldId id="2338" r:id="rId8"/>
    <p:sldId id="2327" r:id="rId9"/>
    <p:sldId id="2328" r:id="rId10"/>
    <p:sldId id="4538" r:id="rId11"/>
    <p:sldId id="4620" r:id="rId12"/>
    <p:sldId id="4656" r:id="rId13"/>
    <p:sldId id="4574" r:id="rId14"/>
    <p:sldId id="2252" r:id="rId15"/>
    <p:sldId id="723" r:id="rId16"/>
    <p:sldId id="2258" r:id="rId17"/>
    <p:sldId id="2257" r:id="rId18"/>
    <p:sldId id="4534" r:id="rId19"/>
    <p:sldId id="4533" r:id="rId20"/>
    <p:sldId id="2253" r:id="rId21"/>
    <p:sldId id="2265" r:id="rId22"/>
    <p:sldId id="2259" r:id="rId23"/>
    <p:sldId id="2266" r:id="rId24"/>
    <p:sldId id="4537" r:id="rId25"/>
    <p:sldId id="2262" r:id="rId26"/>
    <p:sldId id="737" r:id="rId27"/>
    <p:sldId id="4535" r:id="rId28"/>
    <p:sldId id="4536" r:id="rId29"/>
    <p:sldId id="4532" r:id="rId30"/>
    <p:sldId id="4531" r:id="rId31"/>
    <p:sldId id="750" r:id="rId32"/>
    <p:sldId id="2221" r:id="rId33"/>
    <p:sldId id="705" r:id="rId34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5EA"/>
    <a:srgbClr val="00002F"/>
    <a:srgbClr val="920E04"/>
    <a:srgbClr val="B31105"/>
    <a:srgbClr val="E9EBF5"/>
    <a:srgbClr val="2B2B82"/>
    <a:srgbClr val="3E2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6" autoAdjust="0"/>
    <p:restoredTop sz="93883" autoAdjust="0"/>
  </p:normalViewPr>
  <p:slideViewPr>
    <p:cSldViewPr snapToGrid="0">
      <p:cViewPr varScale="1">
        <p:scale>
          <a:sx n="107" d="100"/>
          <a:sy n="107" d="100"/>
        </p:scale>
        <p:origin x="78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1:$A$302</c:f>
              <c:numCache>
                <c:formatCode>m/d/yyyy</c:formatCode>
                <c:ptCount val="152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</c:numCache>
            </c:numRef>
          </c:cat>
          <c:val>
            <c:numRef>
              <c:f>Sheet1!$B$151:$B$302</c:f>
              <c:numCache>
                <c:formatCode>General</c:formatCode>
                <c:ptCount val="152"/>
                <c:pt idx="0">
                  <c:v>167</c:v>
                </c:pt>
                <c:pt idx="1">
                  <c:v>165</c:v>
                </c:pt>
                <c:pt idx="2">
                  <c:v>126</c:v>
                </c:pt>
                <c:pt idx="3">
                  <c:v>108</c:v>
                </c:pt>
                <c:pt idx="4">
                  <c:v>130</c:v>
                </c:pt>
                <c:pt idx="5">
                  <c:v>110</c:v>
                </c:pt>
                <c:pt idx="6">
                  <c:v>281</c:v>
                </c:pt>
                <c:pt idx="7">
                  <c:v>250</c:v>
                </c:pt>
                <c:pt idx="8">
                  <c:v>285</c:v>
                </c:pt>
                <c:pt idx="9">
                  <c:v>157</c:v>
                </c:pt>
                <c:pt idx="10">
                  <c:v>148</c:v>
                </c:pt>
                <c:pt idx="11">
                  <c:v>245</c:v>
                </c:pt>
                <c:pt idx="12">
                  <c:v>322</c:v>
                </c:pt>
                <c:pt idx="13">
                  <c:v>262</c:v>
                </c:pt>
                <c:pt idx="14">
                  <c:v>226</c:v>
                </c:pt>
                <c:pt idx="15">
                  <c:v>242</c:v>
                </c:pt>
                <c:pt idx="16">
                  <c:v>197</c:v>
                </c:pt>
                <c:pt idx="17">
                  <c:v>116</c:v>
                </c:pt>
                <c:pt idx="18">
                  <c:v>219</c:v>
                </c:pt>
                <c:pt idx="19">
                  <c:v>300</c:v>
                </c:pt>
                <c:pt idx="20">
                  <c:v>233</c:v>
                </c:pt>
                <c:pt idx="21">
                  <c:v>200</c:v>
                </c:pt>
                <c:pt idx="22">
                  <c:v>189</c:v>
                </c:pt>
                <c:pt idx="23">
                  <c:v>126</c:v>
                </c:pt>
                <c:pt idx="24">
                  <c:v>81</c:v>
                </c:pt>
                <c:pt idx="25">
                  <c:v>198</c:v>
                </c:pt>
                <c:pt idx="26">
                  <c:v>256</c:v>
                </c:pt>
                <c:pt idx="27">
                  <c:v>192</c:v>
                </c:pt>
                <c:pt idx="28">
                  <c:v>206</c:v>
                </c:pt>
                <c:pt idx="29">
                  <c:v>138</c:v>
                </c:pt>
                <c:pt idx="30">
                  <c:v>115</c:v>
                </c:pt>
                <c:pt idx="31">
                  <c:v>77</c:v>
                </c:pt>
                <c:pt idx="32">
                  <c:v>152</c:v>
                </c:pt>
                <c:pt idx="33">
                  <c:v>238</c:v>
                </c:pt>
                <c:pt idx="34">
                  <c:v>208</c:v>
                </c:pt>
                <c:pt idx="35">
                  <c:v>164</c:v>
                </c:pt>
                <c:pt idx="36">
                  <c:v>175</c:v>
                </c:pt>
                <c:pt idx="37">
                  <c:v>154</c:v>
                </c:pt>
                <c:pt idx="38">
                  <c:v>106</c:v>
                </c:pt>
                <c:pt idx="39">
                  <c:v>172</c:v>
                </c:pt>
                <c:pt idx="40">
                  <c:v>260</c:v>
                </c:pt>
                <c:pt idx="41">
                  <c:v>219</c:v>
                </c:pt>
                <c:pt idx="42">
                  <c:v>190</c:v>
                </c:pt>
                <c:pt idx="43">
                  <c:v>219</c:v>
                </c:pt>
                <c:pt idx="44">
                  <c:v>142</c:v>
                </c:pt>
                <c:pt idx="45">
                  <c:v>77</c:v>
                </c:pt>
                <c:pt idx="46">
                  <c:v>215</c:v>
                </c:pt>
                <c:pt idx="47">
                  <c:v>300</c:v>
                </c:pt>
                <c:pt idx="48">
                  <c:v>208</c:v>
                </c:pt>
                <c:pt idx="49">
                  <c:v>166</c:v>
                </c:pt>
                <c:pt idx="50">
                  <c:v>171</c:v>
                </c:pt>
                <c:pt idx="51">
                  <c:v>134</c:v>
                </c:pt>
                <c:pt idx="52">
                  <c:v>107</c:v>
                </c:pt>
                <c:pt idx="53">
                  <c:v>211</c:v>
                </c:pt>
                <c:pt idx="54">
                  <c:v>249</c:v>
                </c:pt>
                <c:pt idx="55">
                  <c:v>246</c:v>
                </c:pt>
                <c:pt idx="56">
                  <c:v>212</c:v>
                </c:pt>
                <c:pt idx="57">
                  <c:v>182</c:v>
                </c:pt>
                <c:pt idx="58">
                  <c:v>133</c:v>
                </c:pt>
                <c:pt idx="59">
                  <c:v>81</c:v>
                </c:pt>
                <c:pt idx="60">
                  <c:v>241</c:v>
                </c:pt>
                <c:pt idx="61">
                  <c:v>291</c:v>
                </c:pt>
                <c:pt idx="62">
                  <c:v>262</c:v>
                </c:pt>
                <c:pt idx="63">
                  <c:v>306</c:v>
                </c:pt>
                <c:pt idx="64">
                  <c:v>308</c:v>
                </c:pt>
                <c:pt idx="65">
                  <c:v>206</c:v>
                </c:pt>
                <c:pt idx="66">
                  <c:v>140</c:v>
                </c:pt>
                <c:pt idx="67">
                  <c:v>393</c:v>
                </c:pt>
                <c:pt idx="68">
                  <c:v>583</c:v>
                </c:pt>
                <c:pt idx="69">
                  <c:v>381</c:v>
                </c:pt>
                <c:pt idx="70">
                  <c:v>419</c:v>
                </c:pt>
                <c:pt idx="71">
                  <c:v>444</c:v>
                </c:pt>
                <c:pt idx="72">
                  <c:v>250</c:v>
                </c:pt>
                <c:pt idx="73">
                  <c:v>136</c:v>
                </c:pt>
                <c:pt idx="74">
                  <c:v>492</c:v>
                </c:pt>
                <c:pt idx="75">
                  <c:v>557</c:v>
                </c:pt>
                <c:pt idx="76">
                  <c:v>523</c:v>
                </c:pt>
                <c:pt idx="77">
                  <c:v>556</c:v>
                </c:pt>
                <c:pt idx="78">
                  <c:v>443</c:v>
                </c:pt>
                <c:pt idx="79">
                  <c:v>301</c:v>
                </c:pt>
                <c:pt idx="80">
                  <c:v>187</c:v>
                </c:pt>
                <c:pt idx="81">
                  <c:v>481</c:v>
                </c:pt>
                <c:pt idx="82">
                  <c:v>596</c:v>
                </c:pt>
                <c:pt idx="83">
                  <c:v>523</c:v>
                </c:pt>
                <c:pt idx="84">
                  <c:v>483</c:v>
                </c:pt>
                <c:pt idx="85">
                  <c:v>511</c:v>
                </c:pt>
                <c:pt idx="86">
                  <c:v>414</c:v>
                </c:pt>
                <c:pt idx="87">
                  <c:v>249</c:v>
                </c:pt>
                <c:pt idx="88">
                  <c:v>673</c:v>
                </c:pt>
                <c:pt idx="89">
                  <c:v>474</c:v>
                </c:pt>
                <c:pt idx="90">
                  <c:v>733</c:v>
                </c:pt>
                <c:pt idx="91">
                  <c:v>920</c:v>
                </c:pt>
                <c:pt idx="92">
                  <c:v>828</c:v>
                </c:pt>
                <c:pt idx="93">
                  <c:v>552</c:v>
                </c:pt>
                <c:pt idx="94">
                  <c:v>318</c:v>
                </c:pt>
                <c:pt idx="95">
                  <c:v>805</c:v>
                </c:pt>
                <c:pt idx="96">
                  <c:v>1112</c:v>
                </c:pt>
                <c:pt idx="97">
                  <c:v>1048</c:v>
                </c:pt>
                <c:pt idx="98">
                  <c:v>991</c:v>
                </c:pt>
                <c:pt idx="99">
                  <c:v>1017</c:v>
                </c:pt>
                <c:pt idx="100">
                  <c:v>666</c:v>
                </c:pt>
                <c:pt idx="101">
                  <c:v>336</c:v>
                </c:pt>
                <c:pt idx="102">
                  <c:v>1343</c:v>
                </c:pt>
                <c:pt idx="103">
                  <c:v>1507</c:v>
                </c:pt>
                <c:pt idx="104">
                  <c:v>1499</c:v>
                </c:pt>
                <c:pt idx="105">
                  <c:v>1540</c:v>
                </c:pt>
                <c:pt idx="106">
                  <c:v>1784</c:v>
                </c:pt>
                <c:pt idx="107">
                  <c:v>1158</c:v>
                </c:pt>
                <c:pt idx="108">
                  <c:v>795</c:v>
                </c:pt>
                <c:pt idx="109">
                  <c:v>2533</c:v>
                </c:pt>
                <c:pt idx="110">
                  <c:v>3250</c:v>
                </c:pt>
                <c:pt idx="111">
                  <c:v>3279</c:v>
                </c:pt>
                <c:pt idx="112">
                  <c:v>3643</c:v>
                </c:pt>
                <c:pt idx="113">
                  <c:v>4237</c:v>
                </c:pt>
                <c:pt idx="114">
                  <c:v>2756</c:v>
                </c:pt>
                <c:pt idx="115">
                  <c:v>1838</c:v>
                </c:pt>
                <c:pt idx="116">
                  <c:v>4284</c:v>
                </c:pt>
                <c:pt idx="117">
                  <c:v>6288</c:v>
                </c:pt>
                <c:pt idx="118">
                  <c:v>5850</c:v>
                </c:pt>
                <c:pt idx="119">
                  <c:v>4355</c:v>
                </c:pt>
                <c:pt idx="120">
                  <c:v>5753</c:v>
                </c:pt>
                <c:pt idx="121">
                  <c:v>5058</c:v>
                </c:pt>
                <c:pt idx="122">
                  <c:v>2780</c:v>
                </c:pt>
                <c:pt idx="123">
                  <c:v>7610</c:v>
                </c:pt>
                <c:pt idx="124">
                  <c:v>9921</c:v>
                </c:pt>
                <c:pt idx="125">
                  <c:v>9472</c:v>
                </c:pt>
                <c:pt idx="126">
                  <c:v>8465</c:v>
                </c:pt>
                <c:pt idx="127">
                  <c:v>9246</c:v>
                </c:pt>
                <c:pt idx="128">
                  <c:v>5740</c:v>
                </c:pt>
                <c:pt idx="129">
                  <c:v>3010</c:v>
                </c:pt>
                <c:pt idx="130">
                  <c:v>9275</c:v>
                </c:pt>
                <c:pt idx="131">
                  <c:v>14566</c:v>
                </c:pt>
                <c:pt idx="132">
                  <c:v>13523</c:v>
                </c:pt>
                <c:pt idx="133">
                  <c:v>10421</c:v>
                </c:pt>
                <c:pt idx="134">
                  <c:v>14231</c:v>
                </c:pt>
                <c:pt idx="135">
                  <c:v>9173</c:v>
                </c:pt>
                <c:pt idx="136">
                  <c:v>5663</c:v>
                </c:pt>
                <c:pt idx="137">
                  <c:v>11537</c:v>
                </c:pt>
                <c:pt idx="138">
                  <c:v>22508</c:v>
                </c:pt>
                <c:pt idx="139">
                  <c:v>14150</c:v>
                </c:pt>
                <c:pt idx="140">
                  <c:v>13410</c:v>
                </c:pt>
                <c:pt idx="141">
                  <c:v>22957</c:v>
                </c:pt>
                <c:pt idx="142">
                  <c:v>14410</c:v>
                </c:pt>
                <c:pt idx="143">
                  <c:v>8257</c:v>
                </c:pt>
                <c:pt idx="144">
                  <c:v>14495</c:v>
                </c:pt>
                <c:pt idx="145">
                  <c:v>25892</c:v>
                </c:pt>
                <c:pt idx="146">
                  <c:v>18031</c:v>
                </c:pt>
                <c:pt idx="147">
                  <c:v>27928</c:v>
                </c:pt>
                <c:pt idx="148">
                  <c:v>20344</c:v>
                </c:pt>
                <c:pt idx="149">
                  <c:v>12514</c:v>
                </c:pt>
                <c:pt idx="150">
                  <c:v>9298</c:v>
                </c:pt>
                <c:pt idx="151">
                  <c:v>17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</c:strCache>
            </c:strRef>
          </c:cat>
          <c:val>
            <c:numRef>
              <c:f>List1!$B$2:$B$12</c:f>
              <c:numCache>
                <c:formatCode>#,##0</c:formatCode>
                <c:ptCount val="11"/>
                <c:pt idx="0">
                  <c:v>1550</c:v>
                </c:pt>
                <c:pt idx="1">
                  <c:v>10775</c:v>
                </c:pt>
                <c:pt idx="2">
                  <c:v>11676</c:v>
                </c:pt>
                <c:pt idx="3">
                  <c:v>29650</c:v>
                </c:pt>
                <c:pt idx="4">
                  <c:v>28958</c:v>
                </c:pt>
                <c:pt idx="5">
                  <c:v>104134</c:v>
                </c:pt>
                <c:pt idx="6">
                  <c:v>70608</c:v>
                </c:pt>
                <c:pt idx="7">
                  <c:v>41037</c:v>
                </c:pt>
                <c:pt idx="8">
                  <c:v>10498</c:v>
                </c:pt>
                <c:pt idx="9">
                  <c:v>4654</c:v>
                </c:pt>
                <c:pt idx="10">
                  <c:v>11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1F-4C73-A50A-441A49741F7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D1F-4C73-A50A-441A49741F7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D1F-4C73-A50A-441A49741F7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D1F-4C73-A50A-441A49741F7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D1F-4C73-A50A-441A49741F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2"/>
                <c:pt idx="0">
                  <c:v>1. čtvrt.</c:v>
                </c:pt>
                <c:pt idx="1">
                  <c:v>2. čtvrt.</c:v>
                </c:pt>
              </c:strCache>
            </c:strRef>
          </c:cat>
          <c:val>
            <c:numRef>
              <c:f>List1!$B$2:$B$5</c:f>
              <c:numCache>
                <c:formatCode>0.0</c:formatCode>
                <c:ptCount val="4"/>
                <c:pt idx="0">
                  <c:v>68.68532335381019</c:v>
                </c:pt>
                <c:pt idx="1">
                  <c:v>31.314676646189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D1F-4C73-A50A-441A49741F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8049443959542598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2.280095457830999</c:v>
                </c:pt>
                <c:pt idx="1">
                  <c:v>23.600397410886998</c:v>
                </c:pt>
                <c:pt idx="2">
                  <c:v>21.509919318548</c:v>
                </c:pt>
                <c:pt idx="3">
                  <c:v>22.885233852982001</c:v>
                </c:pt>
                <c:pt idx="4">
                  <c:v>23.600397410886998</c:v>
                </c:pt>
                <c:pt idx="5">
                  <c:v>29.431731036887999</c:v>
                </c:pt>
                <c:pt idx="6">
                  <c:v>32.787498500906999</c:v>
                </c:pt>
                <c:pt idx="7">
                  <c:v>36.968454685586003</c:v>
                </c:pt>
                <c:pt idx="8">
                  <c:v>52.867090703643001</c:v>
                </c:pt>
                <c:pt idx="9">
                  <c:v>64.804820862531002</c:v>
                </c:pt>
                <c:pt idx="10">
                  <c:v>85.269501134909007</c:v>
                </c:pt>
                <c:pt idx="11">
                  <c:v>180.60630466187601</c:v>
                </c:pt>
                <c:pt idx="12">
                  <c:v>290.85151774210698</c:v>
                </c:pt>
                <c:pt idx="13">
                  <c:v>529.93619640811801</c:v>
                </c:pt>
                <c:pt idx="14">
                  <c:v>682.70613489305003</c:v>
                </c:pt>
                <c:pt idx="15">
                  <c:v>885.09742178036095</c:v>
                </c:pt>
                <c:pt idx="16">
                  <c:v>1127.0977672593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9.8449441072070005</c:v>
                </c:pt>
                <c:pt idx="1">
                  <c:v>11.110157807732</c:v>
                </c:pt>
                <c:pt idx="2">
                  <c:v>12.138143939408</c:v>
                </c:pt>
                <c:pt idx="3">
                  <c:v>13.60104728064</c:v>
                </c:pt>
                <c:pt idx="4">
                  <c:v>16.131474681690001</c:v>
                </c:pt>
                <c:pt idx="5">
                  <c:v>23.327377603424001</c:v>
                </c:pt>
                <c:pt idx="6">
                  <c:v>28.981301327644001</c:v>
                </c:pt>
                <c:pt idx="7">
                  <c:v>32.539714860369003</c:v>
                </c:pt>
                <c:pt idx="8">
                  <c:v>45.191851865616002</c:v>
                </c:pt>
                <c:pt idx="9">
                  <c:v>61.441940331730997</c:v>
                </c:pt>
                <c:pt idx="10">
                  <c:v>93.230434557414</c:v>
                </c:pt>
                <c:pt idx="11">
                  <c:v>207.29735724534501</c:v>
                </c:pt>
                <c:pt idx="12">
                  <c:v>354.89244299718001</c:v>
                </c:pt>
                <c:pt idx="13">
                  <c:v>593.66199104307702</c:v>
                </c:pt>
                <c:pt idx="14">
                  <c:v>734.89147036414795</c:v>
                </c:pt>
                <c:pt idx="15">
                  <c:v>1105.20370533647</c:v>
                </c:pt>
                <c:pt idx="16">
                  <c:v>1351.12961837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4.9841890447520001</c:v>
                </c:pt>
                <c:pt idx="1">
                  <c:v>5.2862611080699997</c:v>
                </c:pt>
                <c:pt idx="2">
                  <c:v>6.3435133296839998</c:v>
                </c:pt>
                <c:pt idx="3">
                  <c:v>7.6021469268440001</c:v>
                </c:pt>
                <c:pt idx="4">
                  <c:v>10.018723433390999</c:v>
                </c:pt>
                <c:pt idx="5">
                  <c:v>14.398768351507</c:v>
                </c:pt>
                <c:pt idx="6">
                  <c:v>16.613963482508002</c:v>
                </c:pt>
                <c:pt idx="7">
                  <c:v>18.376050518530999</c:v>
                </c:pt>
                <c:pt idx="8">
                  <c:v>26.783722947558001</c:v>
                </c:pt>
                <c:pt idx="9">
                  <c:v>35.594158127676003</c:v>
                </c:pt>
                <c:pt idx="10">
                  <c:v>56.638511872187003</c:v>
                </c:pt>
                <c:pt idx="11">
                  <c:v>128.17924553474501</c:v>
                </c:pt>
                <c:pt idx="12">
                  <c:v>220.91536897347299</c:v>
                </c:pt>
                <c:pt idx="13">
                  <c:v>377.892151211233</c:v>
                </c:pt>
                <c:pt idx="14">
                  <c:v>502.94998542502202</c:v>
                </c:pt>
                <c:pt idx="15">
                  <c:v>671.65723278831103</c:v>
                </c:pt>
                <c:pt idx="16">
                  <c:v>857.98535051183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2.6283342158859999</c:v>
                </c:pt>
                <c:pt idx="1">
                  <c:v>2.7829421109379999</c:v>
                </c:pt>
                <c:pt idx="2">
                  <c:v>3.4013736911470001</c:v>
                </c:pt>
                <c:pt idx="3">
                  <c:v>3.4013736911470001</c:v>
                </c:pt>
                <c:pt idx="4">
                  <c:v>4.4836289565119998</c:v>
                </c:pt>
                <c:pt idx="5">
                  <c:v>7.7303947526080004</c:v>
                </c:pt>
                <c:pt idx="6">
                  <c:v>9.6629934407599993</c:v>
                </c:pt>
                <c:pt idx="7">
                  <c:v>10.126817125916</c:v>
                </c:pt>
                <c:pt idx="8">
                  <c:v>17.084172403263</c:v>
                </c:pt>
                <c:pt idx="9">
                  <c:v>22.495448730088999</c:v>
                </c:pt>
                <c:pt idx="10">
                  <c:v>31.540010590640001</c:v>
                </c:pt>
                <c:pt idx="11">
                  <c:v>73.129534359671993</c:v>
                </c:pt>
                <c:pt idx="12">
                  <c:v>131.57131868938799</c:v>
                </c:pt>
                <c:pt idx="13">
                  <c:v>249.923662351817</c:v>
                </c:pt>
                <c:pt idx="14">
                  <c:v>331.71123883441101</c:v>
                </c:pt>
                <c:pt idx="15">
                  <c:v>434.138969306467</c:v>
                </c:pt>
                <c:pt idx="16">
                  <c:v>561.38126693439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2.0815818171510001</c:v>
                </c:pt>
                <c:pt idx="1">
                  <c:v>2.4285121200100002</c:v>
                </c:pt>
                <c:pt idx="2">
                  <c:v>2.6597989885820001</c:v>
                </c:pt>
                <c:pt idx="3">
                  <c:v>3.9318767657299998</c:v>
                </c:pt>
                <c:pt idx="4">
                  <c:v>6.9386060571710004</c:v>
                </c:pt>
                <c:pt idx="5">
                  <c:v>7.8637535314609996</c:v>
                </c:pt>
                <c:pt idx="6">
                  <c:v>11.448699994332999</c:v>
                </c:pt>
                <c:pt idx="7">
                  <c:v>12.026917165764001</c:v>
                </c:pt>
                <c:pt idx="8">
                  <c:v>16.190080800067001</c:v>
                </c:pt>
                <c:pt idx="9">
                  <c:v>30.9924403887</c:v>
                </c:pt>
                <c:pt idx="10">
                  <c:v>42.788070685892002</c:v>
                </c:pt>
                <c:pt idx="11">
                  <c:v>93.439894903246</c:v>
                </c:pt>
                <c:pt idx="12">
                  <c:v>149.06438679490699</c:v>
                </c:pt>
                <c:pt idx="13">
                  <c:v>279.85711097259502</c:v>
                </c:pt>
                <c:pt idx="14">
                  <c:v>349.82138871574398</c:v>
                </c:pt>
                <c:pt idx="15">
                  <c:v>438.982476550402</c:v>
                </c:pt>
                <c:pt idx="16">
                  <c:v>475.41015835055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10.867354085214</c:v>
                </c:pt>
                <c:pt idx="1">
                  <c:v>12.138171071963001</c:v>
                </c:pt>
                <c:pt idx="2">
                  <c:v>11.829811067825</c:v>
                </c:pt>
                <c:pt idx="3">
                  <c:v>12.474563803749</c:v>
                </c:pt>
                <c:pt idx="4">
                  <c:v>15.782425666316</c:v>
                </c:pt>
                <c:pt idx="5">
                  <c:v>24.341751841773</c:v>
                </c:pt>
                <c:pt idx="6">
                  <c:v>27.976662193576999</c:v>
                </c:pt>
                <c:pt idx="7">
                  <c:v>29.696002822708</c:v>
                </c:pt>
                <c:pt idx="8">
                  <c:v>41.292207826793003</c:v>
                </c:pt>
                <c:pt idx="9">
                  <c:v>55.523489229871998</c:v>
                </c:pt>
                <c:pt idx="10">
                  <c:v>85.639982967313998</c:v>
                </c:pt>
                <c:pt idx="11">
                  <c:v>191.42615287162101</c:v>
                </c:pt>
                <c:pt idx="12">
                  <c:v>312.30327449357202</c:v>
                </c:pt>
                <c:pt idx="13">
                  <c:v>497.431407886746</c:v>
                </c:pt>
                <c:pt idx="14">
                  <c:v>693.33345293963703</c:v>
                </c:pt>
                <c:pt idx="15">
                  <c:v>977.73481918002904</c:v>
                </c:pt>
                <c:pt idx="16">
                  <c:v>1191.02649961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66975803339063E-2"/>
          <c:y val="2.443979858152697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6.8751300104709996</c:v>
                </c:pt>
                <c:pt idx="1">
                  <c:v>6.3462738558189997</c:v>
                </c:pt>
                <c:pt idx="2">
                  <c:v>5.1122761616319998</c:v>
                </c:pt>
                <c:pt idx="3">
                  <c:v>4.58342000698</c:v>
                </c:pt>
                <c:pt idx="4">
                  <c:v>8.8142692441939996</c:v>
                </c:pt>
                <c:pt idx="5">
                  <c:v>10.753408477916</c:v>
                </c:pt>
                <c:pt idx="6">
                  <c:v>13.573974636058001</c:v>
                </c:pt>
                <c:pt idx="7">
                  <c:v>13.573974636058001</c:v>
                </c:pt>
                <c:pt idx="8">
                  <c:v>20.801675416297002</c:v>
                </c:pt>
                <c:pt idx="9">
                  <c:v>24.327383113974999</c:v>
                </c:pt>
                <c:pt idx="10">
                  <c:v>41.955921602362999</c:v>
                </c:pt>
                <c:pt idx="11">
                  <c:v>71.571866262854996</c:v>
                </c:pt>
                <c:pt idx="12">
                  <c:v>112.470075555915</c:v>
                </c:pt>
                <c:pt idx="13">
                  <c:v>194.090208757152</c:v>
                </c:pt>
                <c:pt idx="14">
                  <c:v>318.90026125494001</c:v>
                </c:pt>
                <c:pt idx="15">
                  <c:v>459.22342762250901</c:v>
                </c:pt>
                <c:pt idx="16">
                  <c:v>620.877125561028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12.377429070454999</c:v>
                </c:pt>
                <c:pt idx="1">
                  <c:v>16.378214224541001</c:v>
                </c:pt>
                <c:pt idx="2">
                  <c:v>14.502846183562999</c:v>
                </c:pt>
                <c:pt idx="3">
                  <c:v>18.003533193389</c:v>
                </c:pt>
                <c:pt idx="4">
                  <c:v>22.879490099931999</c:v>
                </c:pt>
                <c:pt idx="5">
                  <c:v>50.134838962145999</c:v>
                </c:pt>
                <c:pt idx="6">
                  <c:v>55.635918549015003</c:v>
                </c:pt>
                <c:pt idx="7">
                  <c:v>57.511286589992999</c:v>
                </c:pt>
                <c:pt idx="8">
                  <c:v>78.265359576815996</c:v>
                </c:pt>
                <c:pt idx="9">
                  <c:v>99.644555243965996</c:v>
                </c:pt>
                <c:pt idx="10">
                  <c:v>177.909914820783</c:v>
                </c:pt>
                <c:pt idx="11">
                  <c:v>401.578809841431</c:v>
                </c:pt>
                <c:pt idx="12">
                  <c:v>599.36762589658201</c:v>
                </c:pt>
                <c:pt idx="13">
                  <c:v>741.39549886665202</c:v>
                </c:pt>
                <c:pt idx="14">
                  <c:v>1430.4057171219799</c:v>
                </c:pt>
                <c:pt idx="15">
                  <c:v>2294.0752122603999</c:v>
                </c:pt>
                <c:pt idx="16">
                  <c:v>2606.26147881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26.094609565334</c:v>
                </c:pt>
                <c:pt idx="1">
                  <c:v>30.839084031759</c:v>
                </c:pt>
                <c:pt idx="2">
                  <c:v>27.280728181941001</c:v>
                </c:pt>
                <c:pt idx="3">
                  <c:v>20.875687652267001</c:v>
                </c:pt>
                <c:pt idx="4">
                  <c:v>35.583558498183997</c:v>
                </c:pt>
                <c:pt idx="5">
                  <c:v>66.897089976586003</c:v>
                </c:pt>
                <c:pt idx="6">
                  <c:v>69.269327209798007</c:v>
                </c:pt>
                <c:pt idx="7">
                  <c:v>64.643464605033998</c:v>
                </c:pt>
                <c:pt idx="8">
                  <c:v>80.300230344235004</c:v>
                </c:pt>
                <c:pt idx="9">
                  <c:v>119.560756553898</c:v>
                </c:pt>
                <c:pt idx="10">
                  <c:v>200.098210621454</c:v>
                </c:pt>
                <c:pt idx="11">
                  <c:v>479.19192110887798</c:v>
                </c:pt>
                <c:pt idx="12">
                  <c:v>752.71087409825304</c:v>
                </c:pt>
                <c:pt idx="13">
                  <c:v>995.27213119420696</c:v>
                </c:pt>
                <c:pt idx="14">
                  <c:v>1498.54226022019</c:v>
                </c:pt>
                <c:pt idx="15">
                  <c:v>2001.4565536611899</c:v>
                </c:pt>
                <c:pt idx="16">
                  <c:v>2371.4069501806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16.197695131324998</c:v>
                </c:pt>
                <c:pt idx="1">
                  <c:v>19.319597265574998</c:v>
                </c:pt>
                <c:pt idx="2">
                  <c:v>16.966859425271</c:v>
                </c:pt>
                <c:pt idx="3">
                  <c:v>15.654755629717</c:v>
                </c:pt>
                <c:pt idx="4">
                  <c:v>24.115562863118999</c:v>
                </c:pt>
                <c:pt idx="5">
                  <c:v>46.421327387542</c:v>
                </c:pt>
                <c:pt idx="6">
                  <c:v>50.040924064933002</c:v>
                </c:pt>
                <c:pt idx="7">
                  <c:v>48.955045061716</c:v>
                </c:pt>
                <c:pt idx="8">
                  <c:v>64.293085982161003</c:v>
                </c:pt>
                <c:pt idx="9">
                  <c:v>87.910954302139004</c:v>
                </c:pt>
                <c:pt idx="10">
                  <c:v>151.48012094882199</c:v>
                </c:pt>
                <c:pt idx="11">
                  <c:v>346.48589194327502</c:v>
                </c:pt>
                <c:pt idx="12">
                  <c:v>532.89512082892304</c:v>
                </c:pt>
                <c:pt idx="13">
                  <c:v>697.767749484094</c:v>
                </c:pt>
                <c:pt idx="14">
                  <c:v>1171.1205049699299</c:v>
                </c:pt>
                <c:pt idx="15">
                  <c:v>1711.52628890444</c:v>
                </c:pt>
                <c:pt idx="16">
                  <c:v>2007.1116025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10.867354085214</c:v>
                </c:pt>
                <c:pt idx="1">
                  <c:v>12.138171071963001</c:v>
                </c:pt>
                <c:pt idx="2">
                  <c:v>11.829811067825</c:v>
                </c:pt>
                <c:pt idx="3">
                  <c:v>12.474563803749</c:v>
                </c:pt>
                <c:pt idx="4">
                  <c:v>15.782425666316</c:v>
                </c:pt>
                <c:pt idx="5">
                  <c:v>24.341751841773</c:v>
                </c:pt>
                <c:pt idx="6">
                  <c:v>27.976662193576999</c:v>
                </c:pt>
                <c:pt idx="7">
                  <c:v>29.696002822708</c:v>
                </c:pt>
                <c:pt idx="8">
                  <c:v>41.292207826793003</c:v>
                </c:pt>
                <c:pt idx="9">
                  <c:v>55.523489229871998</c:v>
                </c:pt>
                <c:pt idx="10">
                  <c:v>85.639982967313998</c:v>
                </c:pt>
                <c:pt idx="11">
                  <c:v>191.42615287162101</c:v>
                </c:pt>
                <c:pt idx="12">
                  <c:v>312.30327449357202</c:v>
                </c:pt>
                <c:pt idx="13">
                  <c:v>497.431407886746</c:v>
                </c:pt>
                <c:pt idx="14">
                  <c:v>693.33345293963703</c:v>
                </c:pt>
                <c:pt idx="15">
                  <c:v>977.73481918002904</c:v>
                </c:pt>
                <c:pt idx="16">
                  <c:v>1191.02649961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General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General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6.48158338563773</c:v>
                </c:pt>
                <c:pt idx="1">
                  <c:v>24.752898513957074</c:v>
                </c:pt>
                <c:pt idx="2">
                  <c:v>24.014703352536685</c:v>
                </c:pt>
                <c:pt idx="3">
                  <c:v>22.781263335986164</c:v>
                </c:pt>
                <c:pt idx="4">
                  <c:v>22.136510600062024</c:v>
                </c:pt>
                <c:pt idx="5">
                  <c:v>21.99634696181765</c:v>
                </c:pt>
                <c:pt idx="6">
                  <c:v>19.949957843449738</c:v>
                </c:pt>
                <c:pt idx="7">
                  <c:v>19.062254801235344</c:v>
                </c:pt>
                <c:pt idx="8">
                  <c:v>18.090453576074328</c:v>
                </c:pt>
                <c:pt idx="9">
                  <c:v>15.866523849263539</c:v>
                </c:pt>
                <c:pt idx="10">
                  <c:v>14.520952922117514</c:v>
                </c:pt>
                <c:pt idx="11">
                  <c:v>13.7734135181475</c:v>
                </c:pt>
                <c:pt idx="12">
                  <c:v>13.250135935368489</c:v>
                </c:pt>
                <c:pt idx="13">
                  <c:v>12.110138344314221</c:v>
                </c:pt>
                <c:pt idx="14">
                  <c:v>10.465551655580189</c:v>
                </c:pt>
                <c:pt idx="15">
                  <c:v>9.3255540645259192</c:v>
                </c:pt>
                <c:pt idx="16">
                  <c:v>9.0265383029379151</c:v>
                </c:pt>
                <c:pt idx="17">
                  <c:v>8.6994898137010335</c:v>
                </c:pt>
                <c:pt idx="18">
                  <c:v>8.6060473882047823</c:v>
                </c:pt>
                <c:pt idx="19">
                  <c:v>8.7462110264491582</c:v>
                </c:pt>
                <c:pt idx="20">
                  <c:v>8.2229334436701489</c:v>
                </c:pt>
                <c:pt idx="21">
                  <c:v>7.3165419163565089</c:v>
                </c:pt>
                <c:pt idx="22">
                  <c:v>7.1109685802647542</c:v>
                </c:pt>
                <c:pt idx="23">
                  <c:v>6.5503140272872447</c:v>
                </c:pt>
                <c:pt idx="24">
                  <c:v>6.4288388741421167</c:v>
                </c:pt>
                <c:pt idx="25">
                  <c:v>6.4755600868902432</c:v>
                </c:pt>
                <c:pt idx="26">
                  <c:v>6.4849043294398685</c:v>
                </c:pt>
                <c:pt idx="27">
                  <c:v>6.7932643335774978</c:v>
                </c:pt>
                <c:pt idx="28">
                  <c:v>7.2044110057610053</c:v>
                </c:pt>
                <c:pt idx="29">
                  <c:v>7.4847382822497606</c:v>
                </c:pt>
                <c:pt idx="30">
                  <c:v>8.1294910181738977</c:v>
                </c:pt>
                <c:pt idx="31">
                  <c:v>8.4378510223115288</c:v>
                </c:pt>
                <c:pt idx="32">
                  <c:v>8.9798170901897887</c:v>
                </c:pt>
                <c:pt idx="33">
                  <c:v>9.4470292176710462</c:v>
                </c:pt>
                <c:pt idx="34">
                  <c:v>9.2414558815792933</c:v>
                </c:pt>
                <c:pt idx="35">
                  <c:v>8.8116207242965352</c:v>
                </c:pt>
                <c:pt idx="36">
                  <c:v>10.15719165144256</c:v>
                </c:pt>
                <c:pt idx="37">
                  <c:v>10.932763783061448</c:v>
                </c:pt>
                <c:pt idx="38">
                  <c:v>12.054072889016469</c:v>
                </c:pt>
                <c:pt idx="39">
                  <c:v>12.34374440805485</c:v>
                </c:pt>
                <c:pt idx="40">
                  <c:v>12.717514110039856</c:v>
                </c:pt>
                <c:pt idx="41">
                  <c:v>13.792102003246752</c:v>
                </c:pt>
                <c:pt idx="42">
                  <c:v>15.773081423767286</c:v>
                </c:pt>
                <c:pt idx="43">
                  <c:v>15.595540815324409</c:v>
                </c:pt>
                <c:pt idx="44">
                  <c:v>15.371278994133405</c:v>
                </c:pt>
                <c:pt idx="45">
                  <c:v>14.969476564499521</c:v>
                </c:pt>
                <c:pt idx="46">
                  <c:v>15.343246266484529</c:v>
                </c:pt>
                <c:pt idx="47">
                  <c:v>15.044230504896523</c:v>
                </c:pt>
                <c:pt idx="48">
                  <c:v>14.801280198606268</c:v>
                </c:pt>
                <c:pt idx="49">
                  <c:v>14.595706862514515</c:v>
                </c:pt>
                <c:pt idx="50">
                  <c:v>14.324723828575387</c:v>
                </c:pt>
                <c:pt idx="51">
                  <c:v>14.081773522285131</c:v>
                </c:pt>
                <c:pt idx="52">
                  <c:v>13.586528667154996</c:v>
                </c:pt>
                <c:pt idx="53">
                  <c:v>12.913743203581983</c:v>
                </c:pt>
                <c:pt idx="54">
                  <c:v>12.586694714345105</c:v>
                </c:pt>
                <c:pt idx="55">
                  <c:v>12.390465620802974</c:v>
                </c:pt>
                <c:pt idx="56">
                  <c:v>11.969974706069843</c:v>
                </c:pt>
                <c:pt idx="57">
                  <c:v>11.58686076153521</c:v>
                </c:pt>
                <c:pt idx="58">
                  <c:v>11.642926216832961</c:v>
                </c:pt>
                <c:pt idx="59">
                  <c:v>11.166369846802079</c:v>
                </c:pt>
                <c:pt idx="60">
                  <c:v>11.072927421305826</c:v>
                </c:pt>
                <c:pt idx="61">
                  <c:v>11.035550451107326</c:v>
                </c:pt>
                <c:pt idx="62">
                  <c:v>10.605715293824568</c:v>
                </c:pt>
                <c:pt idx="63">
                  <c:v>10.44686317048094</c:v>
                </c:pt>
                <c:pt idx="64">
                  <c:v>10.596371051274943</c:v>
                </c:pt>
                <c:pt idx="65">
                  <c:v>10.203912864190684</c:v>
                </c:pt>
                <c:pt idx="66">
                  <c:v>10.549649838526816</c:v>
                </c:pt>
                <c:pt idx="67">
                  <c:v>10.914075297962199</c:v>
                </c:pt>
                <c:pt idx="68">
                  <c:v>11.185058331901329</c:v>
                </c:pt>
                <c:pt idx="69">
                  <c:v>11.371943182893832</c:v>
                </c:pt>
                <c:pt idx="70">
                  <c:v>11.577516518985584</c:v>
                </c:pt>
                <c:pt idx="71">
                  <c:v>11.680303187031463</c:v>
                </c:pt>
                <c:pt idx="72">
                  <c:v>11.923253493321717</c:v>
                </c:pt>
                <c:pt idx="73">
                  <c:v>12.334400165505224</c:v>
                </c:pt>
                <c:pt idx="74">
                  <c:v>12.222269254909721</c:v>
                </c:pt>
                <c:pt idx="75">
                  <c:v>11.951286220970593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9809863352599</c:v>
                </c:pt>
                <c:pt idx="80">
                  <c:v>11.951286220970593</c:v>
                </c:pt>
                <c:pt idx="81">
                  <c:v>11.87653228057359</c:v>
                </c:pt>
                <c:pt idx="82">
                  <c:v>12.156859557062345</c:v>
                </c:pt>
                <c:pt idx="83">
                  <c:v>12.119482586863846</c:v>
                </c:pt>
                <c:pt idx="84">
                  <c:v>11.633581974283336</c:v>
                </c:pt>
                <c:pt idx="85">
                  <c:v>11.988663191169092</c:v>
                </c:pt>
                <c:pt idx="86">
                  <c:v>12.418498348451852</c:v>
                </c:pt>
                <c:pt idx="87">
                  <c:v>12.521285016497727</c:v>
                </c:pt>
                <c:pt idx="88">
                  <c:v>12.511940773948101</c:v>
                </c:pt>
                <c:pt idx="89">
                  <c:v>12.268990467657849</c:v>
                </c:pt>
                <c:pt idx="90">
                  <c:v>12.549317744146602</c:v>
                </c:pt>
                <c:pt idx="91">
                  <c:v>12.951120173780486</c:v>
                </c:pt>
                <c:pt idx="92">
                  <c:v>13.100628054574489</c:v>
                </c:pt>
                <c:pt idx="93">
                  <c:v>13.978986854239254</c:v>
                </c:pt>
                <c:pt idx="94">
                  <c:v>15.156361415492027</c:v>
                </c:pt>
                <c:pt idx="95">
                  <c:v>15.838491121614664</c:v>
                </c:pt>
                <c:pt idx="96">
                  <c:v>16.38980143204255</c:v>
                </c:pt>
                <c:pt idx="97">
                  <c:v>17.810126299585573</c:v>
                </c:pt>
                <c:pt idx="98">
                  <c:v>20.538645124076123</c:v>
                </c:pt>
                <c:pt idx="99">
                  <c:v>21.65060998748152</c:v>
                </c:pt>
                <c:pt idx="100">
                  <c:v>22.706509395589162</c:v>
                </c:pt>
                <c:pt idx="101">
                  <c:v>23.977326382338184</c:v>
                </c:pt>
                <c:pt idx="102">
                  <c:v>24.388473054521693</c:v>
                </c:pt>
                <c:pt idx="103">
                  <c:v>24.351096084323192</c:v>
                </c:pt>
                <c:pt idx="104">
                  <c:v>25.276176096736084</c:v>
                </c:pt>
                <c:pt idx="105">
                  <c:v>25.03322579044583</c:v>
                </c:pt>
                <c:pt idx="106">
                  <c:v>26.360108232492603</c:v>
                </c:pt>
                <c:pt idx="107">
                  <c:v>27.640269461791252</c:v>
                </c:pt>
                <c:pt idx="108">
                  <c:v>27.630925219241629</c:v>
                </c:pt>
                <c:pt idx="109">
                  <c:v>28.10748158927251</c:v>
                </c:pt>
                <c:pt idx="110">
                  <c:v>28.584037959303398</c:v>
                </c:pt>
                <c:pt idx="111">
                  <c:v>28.481251291257514</c:v>
                </c:pt>
                <c:pt idx="112">
                  <c:v>28.845676750692899</c:v>
                </c:pt>
                <c:pt idx="113">
                  <c:v>28.845676750692899</c:v>
                </c:pt>
                <c:pt idx="114">
                  <c:v>28.163547044570262</c:v>
                </c:pt>
                <c:pt idx="115">
                  <c:v>28.789611295395147</c:v>
                </c:pt>
                <c:pt idx="116">
                  <c:v>29.845510703502789</c:v>
                </c:pt>
                <c:pt idx="117">
                  <c:v>30.424853741579554</c:v>
                </c:pt>
                <c:pt idx="118">
                  <c:v>32.218948311107582</c:v>
                </c:pt>
                <c:pt idx="119">
                  <c:v>31.078950720053317</c:v>
                </c:pt>
                <c:pt idx="120">
                  <c:v>33.0412416554746</c:v>
                </c:pt>
                <c:pt idx="121">
                  <c:v>37.124675649660794</c:v>
                </c:pt>
                <c:pt idx="122">
                  <c:v>40.096144780441605</c:v>
                </c:pt>
                <c:pt idx="123">
                  <c:v>41.385650252289878</c:v>
                </c:pt>
                <c:pt idx="124">
                  <c:v>42.030402988214014</c:v>
                </c:pt>
                <c:pt idx="125">
                  <c:v>43.263843004764531</c:v>
                </c:pt>
                <c:pt idx="126">
                  <c:v>49.225469751425393</c:v>
                </c:pt>
                <c:pt idx="127">
                  <c:v>52.16890615455732</c:v>
                </c:pt>
                <c:pt idx="128">
                  <c:v>52.83234737558071</c:v>
                </c:pt>
                <c:pt idx="129">
                  <c:v>54.598409217459867</c:v>
                </c:pt>
                <c:pt idx="130">
                  <c:v>55.663652868117133</c:v>
                </c:pt>
                <c:pt idx="131">
                  <c:v>55.831849234010392</c:v>
                </c:pt>
                <c:pt idx="132">
                  <c:v>60.859051725708731</c:v>
                </c:pt>
                <c:pt idx="133">
                  <c:v>64.550027532810674</c:v>
                </c:pt>
                <c:pt idx="134">
                  <c:v>68.764280922691626</c:v>
                </c:pt>
                <c:pt idx="135">
                  <c:v>73.894270082435838</c:v>
                </c:pt>
                <c:pt idx="136">
                  <c:v>81.061304117998347</c:v>
                </c:pt>
                <c:pt idx="137">
                  <c:v>85.658671452413927</c:v>
                </c:pt>
                <c:pt idx="138">
                  <c:v>89.947678782691881</c:v>
                </c:pt>
                <c:pt idx="139">
                  <c:v>101.06732741674584</c:v>
                </c:pt>
                <c:pt idx="140">
                  <c:v>117.35434218074251</c:v>
                </c:pt>
                <c:pt idx="141">
                  <c:v>133.98709391907531</c:v>
                </c:pt>
                <c:pt idx="142">
                  <c:v>153.63803600093703</c:v>
                </c:pt>
                <c:pt idx="143">
                  <c:v>176.55946297516758</c:v>
                </c:pt>
                <c:pt idx="144">
                  <c:v>191.49156256946861</c:v>
                </c:pt>
                <c:pt idx="145">
                  <c:v>201.23760754872768</c:v>
                </c:pt>
                <c:pt idx="146">
                  <c:v>217.59937625312133</c:v>
                </c:pt>
                <c:pt idx="147">
                  <c:v>245.98718511888256</c:v>
                </c:pt>
                <c:pt idx="148">
                  <c:v>270.01123271396892</c:v>
                </c:pt>
                <c:pt idx="149">
                  <c:v>276.664333409302</c:v>
                </c:pt>
                <c:pt idx="150">
                  <c:v>290.83020511453378</c:v>
                </c:pt>
                <c:pt idx="151">
                  <c:v>312.34065146377094</c:v>
                </c:pt>
                <c:pt idx="152">
                  <c:v>321.14292794551784</c:v>
                </c:pt>
                <c:pt idx="153">
                  <c:v>352.21253442302151</c:v>
                </c:pt>
                <c:pt idx="154">
                  <c:v>386.15082336326014</c:v>
                </c:pt>
                <c:pt idx="155">
                  <c:v>419.99566987800245</c:v>
                </c:pt>
                <c:pt idx="156">
                  <c:v>458.39116251441237</c:v>
                </c:pt>
                <c:pt idx="157">
                  <c:v>491.02125749770346</c:v>
                </c:pt>
                <c:pt idx="158">
                  <c:v>497.38468667399815</c:v>
                </c:pt>
                <c:pt idx="159">
                  <c:v>499.52451821786235</c:v>
                </c:pt>
                <c:pt idx="160">
                  <c:v>515.09202630553784</c:v>
                </c:pt>
                <c:pt idx="161">
                  <c:v>558.50537719109639</c:v>
                </c:pt>
                <c:pt idx="162">
                  <c:v>596.35890375962799</c:v>
                </c:pt>
                <c:pt idx="163">
                  <c:v>614.60820945904595</c:v>
                </c:pt>
                <c:pt idx="164">
                  <c:v>661.18925856892747</c:v>
                </c:pt>
                <c:pt idx="165">
                  <c:v>693.27738748434024</c:v>
                </c:pt>
                <c:pt idx="166">
                  <c:v>718.07700721104538</c:v>
                </c:pt>
                <c:pt idx="167">
                  <c:v>739.20433961574793</c:v>
                </c:pt>
                <c:pt idx="168">
                  <c:v>813.41631394487115</c:v>
                </c:pt>
                <c:pt idx="169">
                  <c:v>819.27515402348604</c:v>
                </c:pt>
                <c:pt idx="170">
                  <c:v>847.24247197451416</c:v>
                </c:pt>
                <c:pt idx="171">
                  <c:v>928.78967670509303</c:v>
                </c:pt>
                <c:pt idx="172">
                  <c:v>977.72547493748004</c:v>
                </c:pt>
                <c:pt idx="173">
                  <c:v>1001.955095868658</c:v>
                </c:pt>
                <c:pt idx="174">
                  <c:v>1029.6047095729989</c:v>
                </c:pt>
                <c:pt idx="175">
                  <c:v>1061.113495450335</c:v>
                </c:pt>
                <c:pt idx="176">
                  <c:v>1097.2476813897356</c:v>
                </c:pt>
                <c:pt idx="177">
                  <c:v>1231.2628080364598</c:v>
                </c:pt>
                <c:pt idx="178">
                  <c:v>1206.5753192203499</c:v>
                </c:pt>
                <c:pt idx="179" formatCode="General">
                  <c:v>1191.2</c:v>
                </c:pt>
                <c:pt idx="180" formatCode="General">
                  <c:v>1200.9000000000001</c:v>
                </c:pt>
                <c:pt idx="181" formatCode="General">
                  <c:v>1229.9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625.06550783174396</c:v>
                </c:pt>
                <c:pt idx="165" formatCode="0">
                  <c:v>645.23307298493933</c:v>
                </c:pt>
                <c:pt idx="166" formatCode="0">
                  <c:v>663.38465111031746</c:v>
                </c:pt>
                <c:pt idx="167" formatCode="0">
                  <c:v>680.75472770979945</c:v>
                </c:pt>
                <c:pt idx="168" formatCode="0">
                  <c:v>695.42644691107682</c:v>
                </c:pt>
                <c:pt idx="169" formatCode="0">
                  <c:v>706.14084004505116</c:v>
                </c:pt>
                <c:pt idx="170" formatCode="0">
                  <c:v>712.0128895995266</c:v>
                </c:pt>
                <c:pt idx="171" formatCode="0">
                  <c:v>722.3430952000291</c:v>
                </c:pt>
                <c:pt idx="172" formatCode="0">
                  <c:v>737.68391533491433</c:v>
                </c:pt>
                <c:pt idx="173" formatCode="0">
                  <c:v>753.33903519939224</c:v>
                </c:pt>
                <c:pt idx="174" formatCode="0">
                  <c:v>767.38523978143087</c:v>
                </c:pt>
                <c:pt idx="175" formatCode="0">
                  <c:v>780.51847848227158</c:v>
                </c:pt>
                <c:pt idx="176" formatCode="0">
                  <c:v>793.67416716379751</c:v>
                </c:pt>
                <c:pt idx="177" formatCode="0">
                  <c:v>807.76527170720658</c:v>
                </c:pt>
                <c:pt idx="178" formatCode="0">
                  <c:v>823.50270816753027</c:v>
                </c:pt>
                <c:pt idx="179" formatCode="0">
                  <c:v>839.35239453127997</c:v>
                </c:pt>
                <c:pt idx="180" formatCode="0">
                  <c:v>854.65579803168964</c:v>
                </c:pt>
                <c:pt idx="181" formatCode="0">
                  <c:v>869.5700685335562</c:v>
                </c:pt>
                <c:pt idx="182" formatCode="0">
                  <c:v>884.97075528360187</c:v>
                </c:pt>
                <c:pt idx="183" formatCode="0">
                  <c:v>901.12725805004925</c:v>
                </c:pt>
                <c:pt idx="184" formatCode="0">
                  <c:v>917.89739362189198</c:v>
                </c:pt>
                <c:pt idx="185" formatCode="0">
                  <c:v>934.88454567369149</c:v>
                </c:pt>
                <c:pt idx="186" formatCode="0">
                  <c:v>951.78938112964534</c:v>
                </c:pt>
                <c:pt idx="187" formatCode="0">
                  <c:v>968.7840165083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628.59912610049571</c:v>
                </c:pt>
                <c:pt idx="165" formatCode="0">
                  <c:v>654.40911973257084</c:v>
                </c:pt>
                <c:pt idx="166" formatCode="0">
                  <c:v>679.69230838894703</c:v>
                </c:pt>
                <c:pt idx="167" formatCode="0">
                  <c:v>705.30901122679165</c:v>
                </c:pt>
                <c:pt idx="168" formatCode="0">
                  <c:v>729.91110521782127</c:v>
                </c:pt>
                <c:pt idx="169" formatCode="0">
                  <c:v>752.6287546914815</c:v>
                </c:pt>
                <c:pt idx="170" formatCode="0">
                  <c:v>772.89124186516892</c:v>
                </c:pt>
                <c:pt idx="171" formatCode="0">
                  <c:v>796.70491455629906</c:v>
                </c:pt>
                <c:pt idx="172" formatCode="0">
                  <c:v>825.65042298641424</c:v>
                </c:pt>
                <c:pt idx="173" formatCode="0">
                  <c:v>855.61366387425824</c:v>
                </c:pt>
                <c:pt idx="174" formatCode="0">
                  <c:v>885.27757168629967</c:v>
                </c:pt>
                <c:pt idx="175" formatCode="0">
                  <c:v>915.14352932450765</c:v>
                </c:pt>
                <c:pt idx="176" formatCode="0">
                  <c:v>945.90748619012379</c:v>
                </c:pt>
                <c:pt idx="177" formatCode="0">
                  <c:v>978.23545837680865</c:v>
                </c:pt>
                <c:pt idx="178" formatCode="0">
                  <c:v>1012.6437954403217</c:v>
                </c:pt>
                <c:pt idx="179" formatCode="0">
                  <c:v>1048.0773482884588</c:v>
                </c:pt>
                <c:pt idx="180" formatCode="0">
                  <c:v>1084.1095672882013</c:v>
                </c:pt>
                <c:pt idx="181" formatCode="0">
                  <c:v>1120.8751523236604</c:v>
                </c:pt>
                <c:pt idx="182" formatCode="0">
                  <c:v>1159.0625694691817</c:v>
                </c:pt>
                <c:pt idx="183" formatCode="0">
                  <c:v>1198.9262518391981</c:v>
                </c:pt>
                <c:pt idx="184" formatCode="0">
                  <c:v>1240.3838828378632</c:v>
                </c:pt>
                <c:pt idx="185" formatCode="0">
                  <c:v>1283.1735460238501</c:v>
                </c:pt>
                <c:pt idx="186" formatCode="0">
                  <c:v>1327.0931915709921</c:v>
                </c:pt>
                <c:pt idx="187" formatCode="0">
                  <c:v>1372.3373859785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32.14044288399441</c:v>
                </c:pt>
                <c:pt idx="165" formatCode="0">
                  <c:v>663.5853816680542</c:v>
                </c:pt>
                <c:pt idx="166" formatCode="0">
                  <c:v>696.01514750921831</c:v>
                </c:pt>
                <c:pt idx="167" formatCode="0">
                  <c:v>729.87847658542557</c:v>
                </c:pt>
                <c:pt idx="168" formatCode="0">
                  <c:v>764.58306188479412</c:v>
                </c:pt>
                <c:pt idx="169" formatCode="0">
                  <c:v>799.77541729252937</c:v>
                </c:pt>
                <c:pt idx="170" formatCode="0">
                  <c:v>835.24402471699068</c:v>
                </c:pt>
                <c:pt idx="171" formatCode="0">
                  <c:v>873.76073159479301</c:v>
                </c:pt>
                <c:pt idx="172" formatCode="0">
                  <c:v>917.91236027568209</c:v>
                </c:pt>
                <c:pt idx="173" formatCode="0">
                  <c:v>964.25660373682547</c:v>
                </c:pt>
                <c:pt idx="174" formatCode="0">
                  <c:v>1012.2546624417782</c:v>
                </c:pt>
                <c:pt idx="175" formatCode="0">
                  <c:v>1062.2208361201335</c:v>
                </c:pt>
                <c:pt idx="176" formatCode="0">
                  <c:v>1114.5816744049098</c:v>
                </c:pt>
                <c:pt idx="177" formatCode="0">
                  <c:v>1169.8011435636015</c:v>
                </c:pt>
                <c:pt idx="178" formatCode="0">
                  <c:v>1228.2085099795909</c:v>
                </c:pt>
                <c:pt idx="179" formatCode="0">
                  <c:v>1289.414640654335</c:v>
                </c:pt>
                <c:pt idx="180" formatCode="0">
                  <c:v>1353.307285684408</c:v>
                </c:pt>
                <c:pt idx="181" formatCode="0">
                  <c:v>1420.0884948959765</c:v>
                </c:pt>
                <c:pt idx="182" formatCode="0">
                  <c:v>1490.2596511910099</c:v>
                </c:pt>
                <c:pt idx="183" formatCode="0">
                  <c:v>1564.0976376646249</c:v>
                </c:pt>
                <c:pt idx="184" formatCode="0">
                  <c:v>1641.6772875857737</c:v>
                </c:pt>
                <c:pt idx="185" formatCode="0">
                  <c:v>1723.02105093514</c:v>
                </c:pt>
                <c:pt idx="186" formatCode="0">
                  <c:v>1808.1962776547809</c:v>
                </c:pt>
                <c:pt idx="187" formatCode="0">
                  <c:v>1897.46488418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35.67406115274616</c:v>
                </c:pt>
                <c:pt idx="165" formatCode="0">
                  <c:v>672.7614284156856</c:v>
                </c:pt>
                <c:pt idx="166" formatCode="0">
                  <c:v>712.32280478784753</c:v>
                </c:pt>
                <c:pt idx="167" formatCode="0">
                  <c:v>754.43276010241743</c:v>
                </c:pt>
                <c:pt idx="168" formatCode="0">
                  <c:v>799.41195322871181</c:v>
                </c:pt>
                <c:pt idx="169" formatCode="0">
                  <c:v>847.52053085733075</c:v>
                </c:pt>
                <c:pt idx="170" formatCode="0">
                  <c:v>899.00345783723321</c:v>
                </c:pt>
                <c:pt idx="171" formatCode="0">
                  <c:v>953.45067970035029</c:v>
                </c:pt>
                <c:pt idx="172" formatCode="0">
                  <c:v>1014.4248272413473</c:v>
                </c:pt>
                <c:pt idx="173" formatCode="0">
                  <c:v>1079.2753381139887</c:v>
                </c:pt>
                <c:pt idx="174" formatCode="0">
                  <c:v>1148.3913453168177</c:v>
                </c:pt>
                <c:pt idx="175" formatCode="0">
                  <c:v>1222.0048319835812</c:v>
                </c:pt>
                <c:pt idx="176" formatCode="0">
                  <c:v>1300.295397959761</c:v>
                </c:pt>
                <c:pt idx="177" formatCode="0">
                  <c:v>1383.4950263791038</c:v>
                </c:pt>
                <c:pt idx="178" formatCode="0">
                  <c:v>1471.8581503560426</c:v>
                </c:pt>
                <c:pt idx="179" formatCode="0">
                  <c:v>1565.8637028118608</c:v>
                </c:pt>
                <c:pt idx="180" formatCode="0">
                  <c:v>1665.9232667257872</c:v>
                </c:pt>
                <c:pt idx="181" formatCode="0">
                  <c:v>1772.4110084425752</c:v>
                </c:pt>
                <c:pt idx="182" formatCode="0">
                  <c:v>1885.6187777111329</c:v>
                </c:pt>
                <c:pt idx="183" formatCode="0">
                  <c:v>2005.9806074913733</c:v>
                </c:pt>
                <c:pt idx="184" formatCode="0">
                  <c:v>2133.952980723896</c:v>
                </c:pt>
                <c:pt idx="185" formatCode="0">
                  <c:v>2270.0746969451452</c:v>
                </c:pt>
                <c:pt idx="186" formatCode="0">
                  <c:v>2414.8920390184608</c:v>
                </c:pt>
                <c:pt idx="187" formatCode="0">
                  <c:v>2568.928839826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50</c:v>
                </c:pt>
                <c:pt idx="38">
                  <c:v>3406</c:v>
                </c:pt>
                <c:pt idx="39">
                  <c:v>3596</c:v>
                </c:pt>
                <c:pt idx="40">
                  <c:v>3749</c:v>
                </c:pt>
                <c:pt idx="41">
                  <c:v>3882</c:v>
                </c:pt>
                <c:pt idx="42">
                  <c:v>4045</c:v>
                </c:pt>
                <c:pt idx="43">
                  <c:v>3986</c:v>
                </c:pt>
                <c:pt idx="44">
                  <c:v>4128</c:v>
                </c:pt>
                <c:pt idx="45">
                  <c:v>4775</c:v>
                </c:pt>
                <c:pt idx="46">
                  <c:v>4837</c:v>
                </c:pt>
                <c:pt idx="47">
                  <c:v>4809</c:v>
                </c:pt>
                <c:pt idx="48">
                  <c:v>5174</c:v>
                </c:pt>
                <c:pt idx="49">
                  <c:v>5299</c:v>
                </c:pt>
                <c:pt idx="50">
                  <c:v>5189</c:v>
                </c:pt>
                <c:pt idx="51">
                  <c:v>5386</c:v>
                </c:pt>
                <c:pt idx="52">
                  <c:v>5960</c:v>
                </c:pt>
                <c:pt idx="53">
                  <c:v>6066</c:v>
                </c:pt>
                <c:pt idx="54">
                  <c:v>6126</c:v>
                </c:pt>
                <c:pt idx="55">
                  <c:v>6141</c:v>
                </c:pt>
                <c:pt idx="56">
                  <c:v>6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04-48BF-8683-7E89300304D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04-48BF-8683-7E89300304D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604-48BF-8683-7E89300304D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604-48BF-8683-7E89300304DA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0</c:v>
                </c:pt>
                <c:pt idx="47">
                  <c:v>690</c:v>
                </c:pt>
                <c:pt idx="48">
                  <c:v>715</c:v>
                </c:pt>
                <c:pt idx="49">
                  <c:v>744</c:v>
                </c:pt>
                <c:pt idx="50">
                  <c:v>752</c:v>
                </c:pt>
                <c:pt idx="51">
                  <c:v>778</c:v>
                </c:pt>
                <c:pt idx="52">
                  <c:v>812</c:v>
                </c:pt>
                <c:pt idx="53">
                  <c:v>855</c:v>
                </c:pt>
                <c:pt idx="54">
                  <c:v>859</c:v>
                </c:pt>
                <c:pt idx="55">
                  <c:v>883</c:v>
                </c:pt>
                <c:pt idx="56">
                  <c:v>906</c:v>
                </c:pt>
                <c:pt idx="57">
                  <c:v>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65-47FE-992B-BE219CBF8B1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C65-47FE-992B-BE219CBF8B1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C65-47FE-992B-BE219CBF8B1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C65-47FE-992B-BE219CBF8B1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</c:strCache>
            </c:strRef>
          </c:cat>
          <c:val>
            <c:numRef>
              <c:f>List1!$B$2:$B$12</c:f>
              <c:numCache>
                <c:formatCode>#,##0</c:formatCode>
                <c:ptCount val="11"/>
                <c:pt idx="0">
                  <c:v>14224</c:v>
                </c:pt>
                <c:pt idx="1">
                  <c:v>22096</c:v>
                </c:pt>
                <c:pt idx="2">
                  <c:v>57015</c:v>
                </c:pt>
                <c:pt idx="3">
                  <c:v>83882</c:v>
                </c:pt>
                <c:pt idx="4">
                  <c:v>120144</c:v>
                </c:pt>
                <c:pt idx="5">
                  <c:v>147982</c:v>
                </c:pt>
                <c:pt idx="6">
                  <c:v>100231</c:v>
                </c:pt>
                <c:pt idx="7">
                  <c:v>53584</c:v>
                </c:pt>
                <c:pt idx="8">
                  <c:v>15587</c:v>
                </c:pt>
                <c:pt idx="9">
                  <c:v>20120</c:v>
                </c:pt>
                <c:pt idx="10">
                  <c:v>62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9D1AF-A322-4DDC-936B-94D227551E32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77612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6F62-5E63-4E8B-AA69-5851462FB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1700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CEB9BA-4054-4603-945D-A1EF09634E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505C839-E938-4833-8347-D2CB82AB40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B36554E-B24E-4BD8-875E-1AA52DD4F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B3AD2A-FC6B-4131-B7A3-743336930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C13D6EC-72FC-4948-BFDF-DE48ABB08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1150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115B94-F3C5-40F8-9AC5-07811EACC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B2EFD8-520F-4B08-9270-723635A682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419C64-73DA-4ED7-92EF-564A16F1D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00023CF-E4B0-41C6-8BF3-D03CF130D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6A99045-F4B1-46A5-A039-E453F3A55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5471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8912A6FA-536F-405B-B543-8ED88E2DD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D6EEEBB-33A3-455F-98BB-29374C0033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23FB4AB-B0E8-4C0A-BAB9-20B80C605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ADAF440-D292-45A2-967D-738537C0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2F2DB0-D97B-4684-BB8D-7642619F1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4904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434252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1472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52769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75421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30.11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9824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30.11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1583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30.11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908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749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BF504D-1307-4C38-B3E6-C41FDB92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EDB08F05-F28F-460B-94F3-EBE4A23D0A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8C62A6-7E82-492E-B6B1-6C8637FEF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93DA0D5-56CE-4DD6-8C1A-7CCA94416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95B101A-E5C5-4136-A56C-7FEE87AB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0030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4574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5116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29424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7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8637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682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5762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84756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750673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0166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6462A3-4614-4CCF-B066-ED14F7851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3A9A065F-A4AE-46CD-8CA4-E86C2C9DB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EC95BD3-67F6-4B1B-804E-C48336310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264C30-9A4B-4261-B882-CAF7C9861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9E76F8A-A8AC-4D9D-AA5B-7917B3B10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73454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1793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2238297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950650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5008561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58719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30.11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7544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30.11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76857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30.11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73041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9493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923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CC1D3C-3C45-4CDE-8C50-E9B54531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CDDE7F67-DFE1-4955-A5EC-578B6D2345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07BCCAA2-482E-417A-BB45-47228BCC1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03773A-C9D4-4C39-95F3-76F9E89A5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20B03AC-2A32-4470-A086-A921220A2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D0128CD-27B6-4FCF-BE55-E570B38A6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4633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77236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87584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621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97261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73634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32716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31334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18400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39891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1394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9EC43F7-4CE4-4D42-941A-E4BC3241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423597C-D66C-416D-B6BF-FA406C61FF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7EE5280B-A5BD-4A51-A5D9-249AE953D2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0CF8BFCA-090B-4561-8E1A-D7426A78FC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213BB2F4-F03D-4261-A0C3-78AE02EE7F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9DEA5A8-9BE9-4937-B95A-6EEFDCB2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2FA513E-9142-45F3-B525-297A1B230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174F380-EE16-43EA-811B-17EB29DAC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4498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14889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3204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0047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5782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896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8254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727476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6936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53349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50487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04B422-81D7-481C-903D-BAB87D09B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A47B207-6EE8-4462-841C-55EFF3CD1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C25E343-B5B8-4B55-9DDE-AB5AA4FB4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F32F3F1-C931-4867-B21E-9D323C88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922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DBEC7E7-E04C-46DC-A7DC-C606EB4E6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1DC139F-B21F-418A-854A-1F23CEB31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DF6473-2FF0-4356-A485-8BE066305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47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D7083E-BB5E-4816-B292-BBBDFBD9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2EA17A9C-449F-44C2-8F73-5D77D797A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02D037AE-C6BA-4F6B-B05A-098AA7B13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AB0551D-E99B-40EB-BCE7-60FE25B05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A31DD6C-30D4-4D32-B96B-50000C03B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28D9CD2-70DE-4358-954A-E3FCA931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8329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753F86-29A7-45C4-B836-9DDBEE813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AB6EFE1-3019-4953-A852-8F1E784A6C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320AF383-0FAC-428D-B633-F2C750B262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07AD49-78D1-4875-97D4-7193EB1C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CBFD1B3-EFC4-46BD-A519-B1292B648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A87929F-8265-44A8-8A44-7EE299BBA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633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DE04B09-BE14-4E60-8073-0F7D5FCB1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F7DE8703-4F80-40B2-8893-EE8D971F7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7BB1138-4576-4962-887C-561E9A6F6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9C2005D-17A7-4B07-8A8E-9351123D3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39EDCC0-E801-427D-BD3F-073A1A68E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469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249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925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4843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1809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4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chart" Target="../charts/chart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onemocneni-aktualne.mzcr.cz/covid-19/kraje/HKK" TargetMode="External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chart" Target="../charts/chart4.xml"/><Relationship Id="rId5" Type="http://schemas.openxmlformats.org/officeDocument/2006/relationships/slideLayout" Target="../slideLayouts/slideLayout59.xml"/><Relationship Id="rId4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image" Target="../media/image10.png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image" Target="../media/image9.png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8.png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slideLayout" Target="../slideLayouts/slideLayout28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chart" Target="../charts/chart6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59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chart" Target="../charts/chart7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slideLayout" Target="../slideLayouts/slideLayout59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9742A18-5492-4B4E-B61F-49006AF7E37A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12BC6F6-7BA8-4F55-8619-68E4F90A1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78800"/>
            <a:ext cx="9144000" cy="2250291"/>
          </a:xfrm>
        </p:spPr>
        <p:txBody>
          <a:bodyPr>
            <a:noAutofit/>
          </a:bodyPr>
          <a:lstStyle/>
          <a:p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řehled epidemické situace a stavu očkování</a:t>
            </a:r>
            <a:b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 Královéhradeckém kraj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D649B9A-D1EE-41AE-A9D4-4B276E1A9D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00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5764158"/>
              </p:ext>
            </p:extLst>
          </p:nvPr>
        </p:nvGraphicFramePr>
        <p:xfrm>
          <a:off x="1620450" y="2713061"/>
          <a:ext cx="9564329" cy="81723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44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48,9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4 (z toho JIP 2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3684650"/>
              </p:ext>
            </p:extLst>
          </p:nvPr>
        </p:nvGraphicFramePr>
        <p:xfrm>
          <a:off x="1620450" y="3711785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7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529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218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3 (z toho JIP 1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1" name="Zástupný symbol pro obsah 8">
            <a:extLst>
              <a:ext uri="{FF2B5EF4-FFF2-40B4-BE49-F238E27FC236}">
                <a16:creationId xmlns:a16="http://schemas.microsoft.com/office/drawing/2014/main" id="{CB21B2A3-3C4C-404D-8E37-15D7EE03B6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7599343"/>
              </p:ext>
            </p:extLst>
          </p:nvPr>
        </p:nvGraphicFramePr>
        <p:xfrm>
          <a:off x="1620453" y="4721611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147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31. 10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74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106,0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397315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7 (z toho na JIP 10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8" name="Zástupný symbol pro obsah 8">
            <a:extLst>
              <a:ext uri="{FF2B5EF4-FFF2-40B4-BE49-F238E27FC236}">
                <a16:creationId xmlns:a16="http://schemas.microsoft.com/office/drawing/2014/main" id="{583A128E-FB2F-4A60-87A4-3AF0F79007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0026698"/>
              </p:ext>
            </p:extLst>
          </p:nvPr>
        </p:nvGraphicFramePr>
        <p:xfrm>
          <a:off x="1620450" y="1611547"/>
          <a:ext cx="9564329" cy="97047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1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.806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543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4 (z toho JIP 2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86403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 zač. r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6135908"/>
              </p:ext>
            </p:extLst>
          </p:nvPr>
        </p:nvGraphicFramePr>
        <p:xfrm>
          <a:off x="1582967" y="1936029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49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85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23 (z toho JIP 11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4370329"/>
              </p:ext>
            </p:extLst>
          </p:nvPr>
        </p:nvGraphicFramePr>
        <p:xfrm>
          <a:off x="1582966" y="3625868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0. 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.961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994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62 (z toho JIP 10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09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enní počty nově zjištěných C+ v KHK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F1848E1-D1D2-4893-A4F9-1B8030C0BE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5C80EC8B-8F92-4451-BE0D-50245746DC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912144"/>
            <a:ext cx="10515601" cy="35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7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ývoj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255"/>
            <a:ext cx="10515600" cy="4486708"/>
          </a:xfrm>
        </p:spPr>
        <p:txBody>
          <a:bodyPr>
            <a:normAutofit fontScale="70000" lnSpcReduction="20000"/>
          </a:bodyPr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Pozn.: nárůst je způsoben zejména dětmi</a:t>
            </a:r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Zdroj: KHS Hradec Králové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0F967EC-9BBD-4F46-B2D7-EBF467904752}"/>
              </a:ext>
            </a:extLst>
          </p:cNvPr>
          <p:cNvPicPr/>
          <p:nvPr/>
        </p:nvPicPr>
        <p:blipFill rotWithShape="1">
          <a:blip r:embed="rId3"/>
          <a:srcRect l="17202" t="37712" r="3648" b="17674"/>
          <a:stretch/>
        </p:blipFill>
        <p:spPr bwMode="auto">
          <a:xfrm>
            <a:off x="1084729" y="1690255"/>
            <a:ext cx="10148047" cy="354513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25959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ývoj v okresech KHK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97106"/>
            <a:ext cx="10515600" cy="4821085"/>
          </a:xfrm>
        </p:spPr>
        <p:txBody>
          <a:bodyPr>
            <a:normAutofit fontScale="62500" lnSpcReduction="20000"/>
          </a:bodyPr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3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cs-CZ" sz="23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Pozn.: největší čísla jsou zjišťována v okresech Hradec Králové a Rychnov nad Kněžnou</a:t>
            </a:r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Zdroj: KHS Hradec Králové</a:t>
            </a:r>
          </a:p>
          <a:p>
            <a:pPr marL="0" indent="0">
              <a:buNone/>
            </a:pPr>
            <a:endParaRPr lang="cs-CZ" sz="23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BD56AD7-CBC0-4AC3-ACB1-02E97D8B5592}"/>
              </a:ext>
            </a:extLst>
          </p:cNvPr>
          <p:cNvPicPr/>
          <p:nvPr/>
        </p:nvPicPr>
        <p:blipFill rotWithShape="1">
          <a:blip r:embed="rId3"/>
          <a:srcRect l="37223" t="24081" r="15071" b="10262"/>
          <a:stretch/>
        </p:blipFill>
        <p:spPr bwMode="auto">
          <a:xfrm>
            <a:off x="2339788" y="1098304"/>
            <a:ext cx="7440706" cy="448670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420160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DAF9FF-5968-49D4-81D1-11C25044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/>
              <a:t>Kapacita lůžkové péče C+ (bez lůžek následné péče)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F2C57FE-72F9-43C0-8BE1-3F2F7EAEE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" name="Zástupný symbol pro obsah 4">
            <a:extLst>
              <a:ext uri="{FF2B5EF4-FFF2-40B4-BE49-F238E27FC236}">
                <a16:creationId xmlns:a16="http://schemas.microsoft.com/office/drawing/2014/main" id="{86A974F4-BF42-420D-A0E3-48A0B8B9EB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2513"/>
            <a:ext cx="10515600" cy="4572001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r>
              <a:rPr lang="cs-CZ" sz="2000" dirty="0">
                <a:solidFill>
                  <a:schemeClr val="tx1"/>
                </a:solidFill>
                <a:latin typeface="+mj-lt"/>
              </a:rPr>
              <a:t>Nemocnice  podle potřeby navyšují počty lůžek pro </a:t>
            </a:r>
            <a:r>
              <a:rPr lang="cs-CZ" sz="2000" dirty="0" err="1">
                <a:solidFill>
                  <a:schemeClr val="tx1"/>
                </a:solidFill>
                <a:latin typeface="+mj-lt"/>
              </a:rPr>
              <a:t>covid</a:t>
            </a:r>
            <a:r>
              <a:rPr lang="cs-CZ" sz="2000" dirty="0">
                <a:solidFill>
                  <a:schemeClr val="tx1"/>
                </a:solidFill>
                <a:latin typeface="+mj-lt"/>
              </a:rPr>
              <a:t> pozitivní pacienty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BCD551D-366C-454E-BD12-137C3D828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850033"/>
              </p:ext>
            </p:extLst>
          </p:nvPr>
        </p:nvGraphicFramePr>
        <p:xfrm>
          <a:off x="1643337" y="1414558"/>
          <a:ext cx="8347045" cy="2994217"/>
        </p:xfrm>
        <a:graphic>
          <a:graphicData uri="http://schemas.openxmlformats.org/drawingml/2006/table">
            <a:tbl>
              <a:tblPr/>
              <a:tblGrid>
                <a:gridCol w="2556556">
                  <a:extLst>
                    <a:ext uri="{9D8B030D-6E8A-4147-A177-3AD203B41FA5}">
                      <a16:colId xmlns:a16="http://schemas.microsoft.com/office/drawing/2014/main" val="4214855361"/>
                    </a:ext>
                  </a:extLst>
                </a:gridCol>
                <a:gridCol w="973515">
                  <a:extLst>
                    <a:ext uri="{9D8B030D-6E8A-4147-A177-3AD203B41FA5}">
                      <a16:colId xmlns:a16="http://schemas.microsoft.com/office/drawing/2014/main" val="2796918159"/>
                    </a:ext>
                  </a:extLst>
                </a:gridCol>
                <a:gridCol w="931884">
                  <a:extLst>
                    <a:ext uri="{9D8B030D-6E8A-4147-A177-3AD203B41FA5}">
                      <a16:colId xmlns:a16="http://schemas.microsoft.com/office/drawing/2014/main" val="2749587344"/>
                    </a:ext>
                  </a:extLst>
                </a:gridCol>
                <a:gridCol w="926478">
                  <a:extLst>
                    <a:ext uri="{9D8B030D-6E8A-4147-A177-3AD203B41FA5}">
                      <a16:colId xmlns:a16="http://schemas.microsoft.com/office/drawing/2014/main" val="3652915394"/>
                    </a:ext>
                  </a:extLst>
                </a:gridCol>
                <a:gridCol w="978920">
                  <a:extLst>
                    <a:ext uri="{9D8B030D-6E8A-4147-A177-3AD203B41FA5}">
                      <a16:colId xmlns:a16="http://schemas.microsoft.com/office/drawing/2014/main" val="545310427"/>
                    </a:ext>
                  </a:extLst>
                </a:gridCol>
                <a:gridCol w="996401">
                  <a:extLst>
                    <a:ext uri="{9D8B030D-6E8A-4147-A177-3AD203B41FA5}">
                      <a16:colId xmlns:a16="http://schemas.microsoft.com/office/drawing/2014/main" val="4175516932"/>
                    </a:ext>
                  </a:extLst>
                </a:gridCol>
                <a:gridCol w="983291">
                  <a:extLst>
                    <a:ext uri="{9D8B030D-6E8A-4147-A177-3AD203B41FA5}">
                      <a16:colId xmlns:a16="http://schemas.microsoft.com/office/drawing/2014/main" val="3626245086"/>
                    </a:ext>
                  </a:extLst>
                </a:gridCol>
              </a:tblGrid>
              <a:tr h="4172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4.11.2021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intenzivní péč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intenziv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intenziv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standard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standard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102322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9784949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Trutnov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5774897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Nácho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1891173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Jičí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6451728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Rychnov nad Kněžnou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633296"/>
                  </a:ext>
                </a:extLst>
              </a:tr>
              <a:tr h="3320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Dvůr Králové </a:t>
                      </a:r>
                      <a:r>
                        <a:rPr lang="cs-CZ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.L.</a:t>
                      </a:r>
                      <a:endParaRPr lang="cs-CZ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5109190"/>
                  </a:ext>
                </a:extLst>
              </a:tr>
              <a:tr h="3320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Vrchlabí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0892298"/>
                  </a:ext>
                </a:extLst>
              </a:tr>
              <a:tr h="3320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47579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32095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DAF9FF-5968-49D4-81D1-11C25044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/>
              <a:t>Monoklonální protilátky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F2C57FE-72F9-43C0-8BE1-3F2F7EAEE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" name="Zástupný symbol pro obsah 4">
            <a:extLst>
              <a:ext uri="{FF2B5EF4-FFF2-40B4-BE49-F238E27FC236}">
                <a16:creationId xmlns:a16="http://schemas.microsoft.com/office/drawing/2014/main" id="{86A974F4-BF42-420D-A0E3-48A0B8B9EB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2513"/>
            <a:ext cx="10515600" cy="4572001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r>
              <a:rPr lang="cs-CZ" sz="2000" dirty="0">
                <a:solidFill>
                  <a:schemeClr val="tx1"/>
                </a:solidFill>
                <a:latin typeface="+mj-lt"/>
              </a:rPr>
              <a:t>Podáno celkem 924 dávek. Zásoby monoklonálních protilátek jsou na cca 4 týdny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B9B91B59-35A6-4DAA-AA3B-32BC297B05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549203"/>
              </p:ext>
            </p:extLst>
          </p:nvPr>
        </p:nvGraphicFramePr>
        <p:xfrm>
          <a:off x="1339272" y="1450109"/>
          <a:ext cx="9212187" cy="3161618"/>
        </p:xfrm>
        <a:graphic>
          <a:graphicData uri="http://schemas.openxmlformats.org/drawingml/2006/table">
            <a:tbl>
              <a:tblPr/>
              <a:tblGrid>
                <a:gridCol w="3168202">
                  <a:extLst>
                    <a:ext uri="{9D8B030D-6E8A-4147-A177-3AD203B41FA5}">
                      <a16:colId xmlns:a16="http://schemas.microsoft.com/office/drawing/2014/main" val="742943663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2429159274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3710455690"/>
                    </a:ext>
                  </a:extLst>
                </a:gridCol>
                <a:gridCol w="1139969">
                  <a:extLst>
                    <a:ext uri="{9D8B030D-6E8A-4147-A177-3AD203B41FA5}">
                      <a16:colId xmlns:a16="http://schemas.microsoft.com/office/drawing/2014/main" val="2399931761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4124240393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2019862604"/>
                    </a:ext>
                  </a:extLst>
                </a:gridCol>
              </a:tblGrid>
              <a:tr h="102575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ty podání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-31.1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-7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-14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-21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-28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367274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135938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Nácho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197122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Rychnov nad Kněžnou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837456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 Trutnov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705586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 Jičí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310273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Dvůr Králové n/L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644706"/>
                  </a:ext>
                </a:extLst>
              </a:tr>
              <a:tr h="27712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840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6091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C13509B-D2F3-452A-BB89-5A10A8602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194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Nasazení armády ČR</a:t>
            </a:r>
            <a:endParaRPr lang="cs-CZ" sz="3600" dirty="0"/>
          </a:p>
        </p:txBody>
      </p:sp>
      <p:graphicFrame>
        <p:nvGraphicFramePr>
          <p:cNvPr id="4" name="Zástupný symbol pro obsah 3">
            <a:extLst>
              <a:ext uri="{FF2B5EF4-FFF2-40B4-BE49-F238E27FC236}">
                <a16:creationId xmlns:a16="http://schemas.microsoft.com/office/drawing/2014/main" id="{5546F5DE-EBDD-4C12-A442-C04F017114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9734726"/>
              </p:ext>
            </p:extLst>
          </p:nvPr>
        </p:nvGraphicFramePr>
        <p:xfrm>
          <a:off x="1384183" y="1792941"/>
          <a:ext cx="9020067" cy="4119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27030">
                  <a:extLst>
                    <a:ext uri="{9D8B030D-6E8A-4147-A177-3AD203B41FA5}">
                      <a16:colId xmlns:a16="http://schemas.microsoft.com/office/drawing/2014/main" val="3711849303"/>
                    </a:ext>
                  </a:extLst>
                </a:gridCol>
                <a:gridCol w="1824892">
                  <a:extLst>
                    <a:ext uri="{9D8B030D-6E8A-4147-A177-3AD203B41FA5}">
                      <a16:colId xmlns:a16="http://schemas.microsoft.com/office/drawing/2014/main" val="1785689735"/>
                    </a:ext>
                  </a:extLst>
                </a:gridCol>
                <a:gridCol w="1268145">
                  <a:extLst>
                    <a:ext uri="{9D8B030D-6E8A-4147-A177-3AD203B41FA5}">
                      <a16:colId xmlns:a16="http://schemas.microsoft.com/office/drawing/2014/main" val="1035950899"/>
                    </a:ext>
                  </a:extLst>
                </a:gridCol>
              </a:tblGrid>
              <a:tr h="54608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ázev zaří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oba nasa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čet osob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02576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none" strike="noStrike" dirty="0">
                          <a:effectLst/>
                        </a:rPr>
                        <a:t>22.11. - 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24726258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Náchod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2.11. - 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91802669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Rychnov nad Kněžnou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18.11. - 2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74015502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 dirty="0">
                          <a:effectLst/>
                        </a:rPr>
                        <a:t>Oblastní nemocnice Jičín, a.s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8.1. - 10.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49003250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Trutnov 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18.11. - 2.1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438212969"/>
                  </a:ext>
                </a:extLst>
              </a:tr>
              <a:tr h="456038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>
                          <a:effectLst/>
                        </a:rPr>
                        <a:t>CELKEM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810813046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D91E11E4-8024-42D4-A65A-4B0F6B6C65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51" y="5916987"/>
            <a:ext cx="1343926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853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k dalšímu zatížení nemocnic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255"/>
            <a:ext cx="10515600" cy="4045527"/>
          </a:xfrm>
        </p:spPr>
        <p:txBody>
          <a:bodyPr>
            <a:normAutofit fontScale="92500" lnSpcReduction="10000"/>
          </a:bodyPr>
          <a:lstStyle/>
          <a:p>
            <a:r>
              <a:rPr lang="cs-CZ" sz="2000" b="1" dirty="0"/>
              <a:t>1. 11. 2020 – 22. 11. 2020</a:t>
            </a:r>
            <a:r>
              <a:rPr lang="cs-CZ" sz="2000" dirty="0"/>
              <a:t>:  ZZS KHK odvezla celkem do nemocnic </a:t>
            </a:r>
            <a:r>
              <a:rPr lang="cs-CZ" sz="2000" b="1" dirty="0"/>
              <a:t>1980 pacientů</a:t>
            </a:r>
            <a:r>
              <a:rPr lang="cs-CZ" sz="2000" dirty="0"/>
              <a:t>. Z toho </a:t>
            </a:r>
            <a:r>
              <a:rPr lang="cs-CZ" sz="2000" b="1" dirty="0"/>
              <a:t>278</a:t>
            </a:r>
            <a:r>
              <a:rPr lang="cs-CZ" sz="2000" dirty="0"/>
              <a:t> pacientů pro onemocnění COVID19 a </a:t>
            </a:r>
            <a:r>
              <a:rPr lang="cs-CZ" sz="2000" b="1" dirty="0"/>
              <a:t>1702</a:t>
            </a:r>
            <a:r>
              <a:rPr lang="cs-CZ" sz="2000" dirty="0"/>
              <a:t> pacientů se všemi ostatními diagnózami (dušnosti, kolapsy, úrazy, neurologické potíže,….a mnoho dalších)</a:t>
            </a:r>
          </a:p>
          <a:p>
            <a:r>
              <a:rPr lang="cs-CZ" sz="2000" b="1" dirty="0"/>
              <a:t>1. 11. 2021 – 22. 11. 2021</a:t>
            </a:r>
            <a:r>
              <a:rPr lang="cs-CZ" sz="2000" dirty="0"/>
              <a:t>:  ZZS KHK odvezla celkem do nemocnic </a:t>
            </a:r>
            <a:r>
              <a:rPr lang="cs-CZ" sz="2000" b="1" dirty="0"/>
              <a:t>2208 pacientů </a:t>
            </a:r>
            <a:r>
              <a:rPr lang="cs-CZ" sz="2000" dirty="0"/>
              <a:t>(+228). Z toho </a:t>
            </a:r>
            <a:r>
              <a:rPr lang="cs-CZ" sz="2000" b="1" dirty="0"/>
              <a:t>115</a:t>
            </a:r>
            <a:r>
              <a:rPr lang="cs-CZ" sz="2000" dirty="0"/>
              <a:t> pacientů pro onemocnění COVID19 (- 163) a </a:t>
            </a:r>
            <a:r>
              <a:rPr lang="cs-CZ" sz="2000" b="1" dirty="0"/>
              <a:t>2093 pacientů (+ 391) </a:t>
            </a:r>
            <a:r>
              <a:rPr lang="cs-CZ" sz="2000" dirty="0"/>
              <a:t>se všemi ostatními diagnózami</a:t>
            </a:r>
          </a:p>
          <a:p>
            <a:r>
              <a:rPr lang="cs-CZ" sz="2000" dirty="0"/>
              <a:t>nemocnice zatím nemohou počítat s efektem výraznějšího úbytku akutní </a:t>
            </a:r>
            <a:r>
              <a:rPr lang="cs-CZ" sz="2000" dirty="0" err="1"/>
              <a:t>nekovidové</a:t>
            </a:r>
            <a:r>
              <a:rPr lang="cs-CZ" sz="2000" dirty="0"/>
              <a:t> péče (alespoň ze strany pacientů generovaných ZZS KHK)</a:t>
            </a:r>
          </a:p>
          <a:p>
            <a:r>
              <a:rPr lang="cs-CZ" sz="2000" dirty="0"/>
              <a:t>mohou tudíž dosáhnout svých limitů (personálních a lůžkových) i při menším počtu </a:t>
            </a:r>
            <a:r>
              <a:rPr lang="cs-CZ" sz="2000" dirty="0" err="1"/>
              <a:t>kovidových</a:t>
            </a:r>
            <a:r>
              <a:rPr lang="cs-CZ" sz="2000" dirty="0"/>
              <a:t> pacientů z důvodu většího objemu </a:t>
            </a:r>
            <a:r>
              <a:rPr lang="cs-CZ" sz="2000" dirty="0" err="1"/>
              <a:t>nekovidvé</a:t>
            </a:r>
            <a:r>
              <a:rPr lang="cs-CZ" sz="2000" dirty="0"/>
              <a:t> akutní péče než při minulé vlně</a:t>
            </a:r>
          </a:p>
          <a:p>
            <a:r>
              <a:rPr lang="cs-CZ" sz="2000" dirty="0"/>
              <a:t>pro náš kraj je specifický efekt horských středisek, kdy v lyžařské sezóně objem akutní úrazové péče strmě roste a přispěje k dalšímu zatížení nemocnic</a:t>
            </a:r>
          </a:p>
          <a:p>
            <a:r>
              <a:rPr lang="cs-CZ" sz="2200" dirty="0">
                <a:solidFill>
                  <a:schemeClr val="accent1">
                    <a:lumMod val="75000"/>
                  </a:schemeClr>
                </a:solidFill>
              </a:rPr>
              <a:t>pozn. do nemocnic se dostávají pacienti i jinak, než jen prostřednictvím ZZS, není to tedy celkové zatížení nemocnic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926206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alší opatření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8241"/>
            <a:ext cx="10622280" cy="45775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900" b="1" dirty="0"/>
              <a:t>Testování </a:t>
            </a:r>
          </a:p>
          <a:p>
            <a:r>
              <a:rPr lang="cs-CZ" sz="1900" dirty="0"/>
              <a:t>Testy provádějí všechny nemocnice v Královéhradeckém kraji, které navýšily kapacitu až na 2 000 testů denně a ve vybraných městech působí také soukromé společnosti</a:t>
            </a:r>
          </a:p>
          <a:p>
            <a:r>
              <a:rPr lang="cs-CZ" sz="1900" b="1" dirty="0"/>
              <a:t>Navýšení kapacity </a:t>
            </a:r>
            <a:r>
              <a:rPr lang="cs-CZ" sz="1900" dirty="0"/>
              <a:t>testování v Rychnově nad Kněžnou a Jičíně na základě dohody s GHC GENETICS Praha</a:t>
            </a:r>
          </a:p>
          <a:p>
            <a:r>
              <a:rPr lang="cs-CZ" sz="1900" dirty="0"/>
              <a:t>Schválený je mobilní odběrový tým Armády ČR (ve Fakultní nemocnici a výjezd do ohnisek)</a:t>
            </a:r>
          </a:p>
          <a:p>
            <a:r>
              <a:rPr lang="cs-CZ" sz="1900" dirty="0"/>
              <a:t>Plán výjezdů má mobilní odběrový tým Hasičského záchranného sboru Královéhradeckého kraje, v případě více ohnisek je možnost krátkodobě nasadit až 3  MOT</a:t>
            </a:r>
          </a:p>
          <a:p>
            <a:pPr marL="0" indent="0">
              <a:buNone/>
            </a:pPr>
            <a:endParaRPr lang="cs-CZ" sz="1900" dirty="0"/>
          </a:p>
          <a:p>
            <a:pPr marL="0" indent="0">
              <a:buNone/>
            </a:pPr>
            <a:r>
              <a:rPr lang="cs-CZ" sz="1900" b="1" dirty="0"/>
              <a:t>Zajištění dostatečné kapacity lůžek následné péče</a:t>
            </a:r>
          </a:p>
          <a:p>
            <a:r>
              <a:rPr lang="cs-CZ" sz="1900" dirty="0" err="1"/>
              <a:t>Nekovidoví</a:t>
            </a:r>
            <a:r>
              <a:rPr lang="cs-CZ" sz="1900" dirty="0"/>
              <a:t> pacienti jsou překládání na doléčení i do následujících zařízení: </a:t>
            </a:r>
            <a:r>
              <a:rPr lang="cs-CZ" sz="1400" dirty="0" err="1"/>
              <a:t>Estrella</a:t>
            </a:r>
            <a:r>
              <a:rPr lang="cs-CZ" sz="1400" dirty="0"/>
              <a:t> </a:t>
            </a:r>
            <a:r>
              <a:rPr lang="cs-CZ" sz="1400" dirty="0" err="1"/>
              <a:t>Health</a:t>
            </a:r>
            <a:r>
              <a:rPr lang="cs-CZ" sz="1400" dirty="0"/>
              <a:t> a.s. (NIP), Léčebna dlouhodobě nemocných Opočno, Léčebna pro dlouhodobě nemocné Hradec Králové, Levitovo centrum následné péče, příspěvková organizace, Oblastní charita Červený Kostelec, První privátní chirurgické centrum, spol. s r.o., Sdružení ozdravoven a léčeben okresu Trutnov, </a:t>
            </a:r>
            <a:r>
              <a:rPr lang="cs-CZ" sz="1400" dirty="0" err="1"/>
              <a:t>Vividus</a:t>
            </a:r>
            <a:r>
              <a:rPr lang="cs-CZ" sz="1400" dirty="0"/>
              <a:t> East, s.r.o.</a:t>
            </a:r>
          </a:p>
          <a:p>
            <a:r>
              <a:rPr lang="cs-CZ" sz="1900" dirty="0"/>
              <a:t>Probíhají jednání s dalšími poskytovateli, </a:t>
            </a:r>
            <a:r>
              <a:rPr lang="cs-CZ" sz="1400" dirty="0"/>
              <a:t>např. Státní léčebné lázně Jánské Lázně</a:t>
            </a:r>
          </a:p>
        </p:txBody>
      </p:sp>
    </p:spTree>
    <p:extLst>
      <p:ext uri="{BB962C8B-B14F-4D97-AF65-F5344CB8AC3E}">
        <p14:creationId xmlns:p14="http://schemas.microsoft.com/office/powerpoint/2010/main" val="3843677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stále ukazuje na zrychlení šíře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931755" y="631456"/>
          <a:ext cx="10328489" cy="2646412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10.–30. 10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10.–6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11.–13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11.–20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8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00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48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09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9.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9.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1.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1.8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ktuální odhad R pro ČR: 1,</a:t>
                      </a:r>
                      <a:r>
                        <a:rPr lang="en-US" sz="2000" b="1" i="0" u="sng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2000" b="1" i="0" u="sng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94DB424D-473D-4F46-A26B-E61354F2841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07008" y="3301922"/>
            <a:ext cx="5925312" cy="19159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AE10A798-9DA4-4CA4-99A0-963A0337D2E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279182" y="3386956"/>
            <a:ext cx="50321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za poslední týden: 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 461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822AA5F-DFCA-4327-B78A-D42709D25C4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768529" y="3981328"/>
            <a:ext cx="4171913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očkovaní nebo nedokončené očkování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E1264B0-C937-4478-AE8B-7EC851D97B66}"/>
              </a:ext>
            </a:extLst>
          </p:cNvPr>
          <p:cNvSpPr txBox="1"/>
          <p:nvPr/>
        </p:nvSpPr>
        <p:spPr>
          <a:xfrm>
            <a:off x="2768528" y="4400659"/>
            <a:ext cx="2703879" cy="369332"/>
          </a:xfrm>
          <a:prstGeom prst="rect">
            <a:avLst/>
          </a:prstGeom>
          <a:solidFill>
            <a:srgbClr val="FF993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é očkování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A25C45AD-54CB-4575-A77D-7AB5F3EDB059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916605" y="3520739"/>
          <a:ext cx="2061901" cy="1705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" name="Obdélník 1">
            <a:extLst>
              <a:ext uri="{FF2B5EF4-FFF2-40B4-BE49-F238E27FC236}">
                <a16:creationId xmlns:a16="http://schemas.microsoft.com/office/drawing/2014/main" id="{D99CDF4E-EE56-4242-9D32-E7B2CD12BADF}"/>
              </a:ext>
            </a:extLst>
          </p:cNvPr>
          <p:cNvSpPr/>
          <p:nvPr/>
        </p:nvSpPr>
        <p:spPr>
          <a:xfrm>
            <a:off x="-107577" y="6657760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6910430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lošné testování ve školách 29. 11. 2021</a:t>
            </a:r>
            <a:endParaRPr lang="cs-CZ" sz="36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69EAAAEE-CB84-4013-8EA5-14660094F1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r>
              <a:rPr lang="cs-CZ" dirty="0"/>
              <a:t>Antigenní testy – pozitivita testů žáků: 0,97 %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F66F98B3-0948-4877-A015-695C5FD0E1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686619"/>
              </p:ext>
            </p:extLst>
          </p:nvPr>
        </p:nvGraphicFramePr>
        <p:xfrm>
          <a:off x="1839335" y="1985818"/>
          <a:ext cx="7510853" cy="14431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57972">
                  <a:extLst>
                    <a:ext uri="{9D8B030D-6E8A-4147-A177-3AD203B41FA5}">
                      <a16:colId xmlns:a16="http://schemas.microsoft.com/office/drawing/2014/main" val="690378514"/>
                    </a:ext>
                  </a:extLst>
                </a:gridCol>
                <a:gridCol w="1972567">
                  <a:extLst>
                    <a:ext uri="{9D8B030D-6E8A-4147-A177-3AD203B41FA5}">
                      <a16:colId xmlns:a16="http://schemas.microsoft.com/office/drawing/2014/main" val="3224832112"/>
                    </a:ext>
                  </a:extLst>
                </a:gridCol>
                <a:gridCol w="1694616">
                  <a:extLst>
                    <a:ext uri="{9D8B030D-6E8A-4147-A177-3AD203B41FA5}">
                      <a16:colId xmlns:a16="http://schemas.microsoft.com/office/drawing/2014/main" val="1854762240"/>
                    </a:ext>
                  </a:extLst>
                </a:gridCol>
                <a:gridCol w="1685698">
                  <a:extLst>
                    <a:ext uri="{9D8B030D-6E8A-4147-A177-3AD203B41FA5}">
                      <a16:colId xmlns:a16="http://schemas.microsoft.com/office/drawing/2014/main" val="2808184119"/>
                    </a:ext>
                  </a:extLst>
                </a:gridCol>
              </a:tblGrid>
              <a:tr h="9319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Testovaných žáků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>
                          <a:effectLst/>
                        </a:rPr>
                        <a:t>Z toho pozitivních testů</a:t>
                      </a:r>
                      <a:endParaRPr lang="cs-CZ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Testovaných zaměstnanců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>
                          <a:effectLst/>
                        </a:rPr>
                        <a:t>Z toho pozitivních testů</a:t>
                      </a:r>
                      <a:endParaRPr lang="cs-CZ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57460508"/>
                  </a:ext>
                </a:extLst>
              </a:tr>
              <a:tr h="51123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7.467</a:t>
                      </a:r>
                    </a:p>
                  </a:txBody>
                  <a:tcPr marL="68580" marR="68580" marT="0" marB="0" anchor="ctr"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6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1.873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17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8980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63797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pobytových službách k 28. 11. 2021</a:t>
            </a:r>
            <a:endParaRPr lang="cs-CZ" sz="3600" dirty="0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4F51BD7B-D78F-45A1-BBB7-9FE5A6EFF5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Počet pozitivních klientů: 51 z 3.250 (1,6 %)</a:t>
            </a:r>
          </a:p>
          <a:p>
            <a:r>
              <a:rPr lang="cs-CZ" dirty="0"/>
              <a:t>Počet pozitivních pracovníků: 28 z 2.465 (1,1 %)</a:t>
            </a:r>
          </a:p>
          <a:p>
            <a:r>
              <a:rPr lang="cs-CZ" dirty="0"/>
              <a:t>Počet pracovníků v karanténě: 2 z 2.465 (0,08 %)</a:t>
            </a:r>
          </a:p>
          <a:p>
            <a:r>
              <a:rPr lang="cs-CZ" dirty="0"/>
              <a:t>Počet zařízení s nákazou: 15 z 53 (28,3 %)</a:t>
            </a:r>
          </a:p>
          <a:p>
            <a:r>
              <a:rPr lang="cs-CZ" dirty="0"/>
              <a:t>Aktuální zákaz návštěv: 7 z 53 (13,2 %) </a:t>
            </a:r>
            <a:r>
              <a:rPr lang="cs-CZ" sz="1400" b="1" dirty="0"/>
              <a:t> Jsou to tato zařízení: </a:t>
            </a:r>
            <a:r>
              <a:rPr lang="cs-CZ" sz="1400" dirty="0"/>
              <a:t> Domov U </a:t>
            </a:r>
            <a:r>
              <a:rPr lang="cs-CZ" sz="1400" dirty="0" err="1"/>
              <a:t>Biřičky</a:t>
            </a:r>
            <a:r>
              <a:rPr lang="cs-CZ" sz="1400" dirty="0"/>
              <a:t>, Domov V Podzámčí – odlehčovací služba, DS Pilníkov, Domov Dědina,  GC Týniště nad Orlicí, SSM Nová Paka – domov pro seniory, DD Náchod</a:t>
            </a:r>
          </a:p>
          <a:p>
            <a:pPr lvl="0"/>
            <a:r>
              <a:rPr lang="cs-CZ" dirty="0">
                <a:solidFill>
                  <a:prstClr val="black"/>
                </a:solidFill>
              </a:rPr>
              <a:t>Očkování: dokončené očkování má 95% klientů a 73% pracovníků, posilující 3. dávka aplikována u 65% klientů a 34% pracovníků</a:t>
            </a:r>
          </a:p>
          <a:p>
            <a:pPr marL="0" indent="0">
              <a:buNone/>
            </a:pPr>
            <a:endParaRPr lang="cs-CZ" sz="14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8916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646977"/>
              </p:ext>
            </p:extLst>
          </p:nvPr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28. 11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697 398</a:t>
            </a:r>
          </a:p>
        </p:txBody>
      </p:sp>
    </p:spTree>
    <p:extLst>
      <p:ext uri="{BB962C8B-B14F-4D97-AF65-F5344CB8AC3E}">
        <p14:creationId xmlns:p14="http://schemas.microsoft.com/office/powerpoint/2010/main" val="12416691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ukončených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4701622"/>
              </p:ext>
            </p:extLst>
          </p:nvPr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28. 11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325 401</a:t>
            </a:r>
          </a:p>
        </p:txBody>
      </p:sp>
    </p:spTree>
    <p:extLst>
      <p:ext uri="{BB962C8B-B14F-4D97-AF65-F5344CB8AC3E}">
        <p14:creationId xmlns:p14="http://schemas.microsoft.com/office/powerpoint/2010/main" val="30012500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Očkování podle  okresů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9" name="Obdélník 8">
            <a:extLst>
              <a:ext uri="{FF2B5EF4-FFF2-40B4-BE49-F238E27FC236}">
                <a16:creationId xmlns:a16="http://schemas.microsoft.com/office/drawing/2014/main" id="{6E4BCED4-C5CF-4904-9FEE-D771E95D6822}"/>
              </a:ext>
            </a:extLst>
          </p:cNvPr>
          <p:cNvSpPr/>
          <p:nvPr/>
        </p:nvSpPr>
        <p:spPr>
          <a:xfrm>
            <a:off x="8903289" y="1899628"/>
            <a:ext cx="21391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defRPr/>
            </a:pPr>
            <a:r>
              <a:rPr lang="cs-CZ" dirty="0">
                <a:solidFill>
                  <a:srgbClr val="2B2B82"/>
                </a:solidFill>
                <a:latin typeface="Franklin Gothic Book" panose="020B0503020102020204"/>
              </a:rPr>
              <a:t>data k 21. 11. 2021</a:t>
            </a:r>
          </a:p>
        </p:txBody>
      </p:sp>
      <p:pic>
        <p:nvPicPr>
          <p:cNvPr id="11" name="Zástupný symbol pro obsah 10">
            <a:extLst>
              <a:ext uri="{FF2B5EF4-FFF2-40B4-BE49-F238E27FC236}">
                <a16:creationId xmlns:a16="http://schemas.microsoft.com/office/drawing/2014/main" id="{CFE40C05-F496-4EB9-8F7A-73092A0AF2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98450" y="1577788"/>
            <a:ext cx="9795100" cy="459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053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2470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díl očkovaných v KHK kraji podle věku 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7" name="Zástupný symbol pro obsah 6">
            <a:extLst>
              <a:ext uri="{FF2B5EF4-FFF2-40B4-BE49-F238E27FC236}">
                <a16:creationId xmlns:a16="http://schemas.microsoft.com/office/drawing/2014/main" id="{27DD97C2-43A5-4AA0-9F30-C42C837355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068945" y="1588655"/>
            <a:ext cx="7435273" cy="4588308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486CF8BD-7E33-4843-B89E-C24DDE230660}"/>
              </a:ext>
            </a:extLst>
          </p:cNvPr>
          <p:cNvSpPr/>
          <p:nvPr/>
        </p:nvSpPr>
        <p:spPr>
          <a:xfrm>
            <a:off x="7365106" y="1403989"/>
            <a:ext cx="2148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defRPr/>
            </a:pPr>
            <a:r>
              <a:rPr lang="cs-CZ" dirty="0">
                <a:solidFill>
                  <a:srgbClr val="2B2B82"/>
                </a:solidFill>
                <a:latin typeface="Franklin Gothic Book" panose="020B0503020102020204"/>
              </a:rPr>
              <a:t>data k 28. 11. 2021</a:t>
            </a:r>
          </a:p>
        </p:txBody>
      </p:sp>
    </p:spTree>
    <p:extLst>
      <p:ext uri="{BB962C8B-B14F-4D97-AF65-F5344CB8AC3E}">
        <p14:creationId xmlns:p14="http://schemas.microsoft.com/office/powerpoint/2010/main" val="23711393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aktičtí lékaři – dávky k 29. 11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D916D482-FB1F-4143-899C-5350BBD413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74252941"/>
              </p:ext>
            </p:extLst>
          </p:nvPr>
        </p:nvGraphicFramePr>
        <p:xfrm>
          <a:off x="838198" y="1380565"/>
          <a:ext cx="10515604" cy="4796400"/>
        </p:xfrm>
        <a:graphic>
          <a:graphicData uri="http://schemas.openxmlformats.org/drawingml/2006/table">
            <a:tbl>
              <a:tblPr/>
              <a:tblGrid>
                <a:gridCol w="1236105">
                  <a:extLst>
                    <a:ext uri="{9D8B030D-6E8A-4147-A177-3AD203B41FA5}">
                      <a16:colId xmlns:a16="http://schemas.microsoft.com/office/drawing/2014/main" val="343450716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4796806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927606823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08067481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20800318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57651014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40566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57622433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10596286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65956272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02717325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113829949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16968950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907576434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11261868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589239511"/>
                    </a:ext>
                  </a:extLst>
                </a:gridCol>
              </a:tblGrid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621534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0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2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0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64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6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898962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9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5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85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4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282124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9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4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8977840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0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0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183914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137807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7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2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49838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7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4729168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8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7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136616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7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3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194664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4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8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0952101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9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7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6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8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464721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7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9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070243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6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7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2973336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2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5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7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4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537776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49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3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5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3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0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4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7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1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0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2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 3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1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7 3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12713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0389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COVID-19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0E0F8C5-58C5-4603-9D08-494ED8906A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cs-CZ" dirty="0">
                <a:hlinkClick r:id="rId3"/>
              </a:rPr>
              <a:t>COVID-19 | Královéhradecký kraj Onemocnění aktuálně od MZČR (mzcr.cz)</a:t>
            </a: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BA3AC8D-9FE6-40B2-8CB1-0C056B3FE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9788" y="1837765"/>
            <a:ext cx="7691718" cy="451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4373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20F01F22-7C8C-41CF-8FA4-176EFCF9E56F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E88F4AC-3EB6-4648-BF73-4809860F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1E5C570B-BD7E-4700-B8B2-B4829E54E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725" y="2091108"/>
            <a:ext cx="5981700" cy="2675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48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ěkuji za pozornost</a:t>
            </a:r>
          </a:p>
          <a:p>
            <a:pPr marL="0" indent="0" algn="ctr">
              <a:buNone/>
            </a:pPr>
            <a:endParaRPr lang="cs-CZ" sz="4800" dirty="0">
              <a:solidFill>
                <a:srgbClr val="2B2B82"/>
              </a:solidFill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Demi" panose="020B0703020102020204" pitchFamily="34" charset="0"/>
              </a:rPr>
              <a:t>Martin Červíček</a:t>
            </a: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Book" panose="020B0503020102020204" pitchFamily="34" charset="0"/>
              </a:rPr>
              <a:t>hejtman</a:t>
            </a:r>
          </a:p>
        </p:txBody>
      </p:sp>
    </p:spTree>
    <p:extLst>
      <p:ext uri="{BB962C8B-B14F-4D97-AF65-F5344CB8AC3E}">
        <p14:creationId xmlns:p14="http://schemas.microsoft.com/office/powerpoint/2010/main" val="3534925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11607" y="1525110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02442" y="615988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významně rost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átěž je stále snížena v kategoriích seniorního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. 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919306" y="1876416"/>
            <a:ext cx="5446443" cy="1198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ase se zvyšuje počet nově zachycených nákaz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u dospělých ve věku 35 let. Nově roste počet nákaz v seniorní věkové kategorii 75+.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4F6B5FB6-9DB6-4AB6-929E-176DE41CD827}"/>
              </a:ext>
            </a:extLst>
          </p:cNvPr>
          <p:cNvSpPr/>
          <p:nvPr/>
        </p:nvSpPr>
        <p:spPr>
          <a:xfrm>
            <a:off x="-71718" y="6613458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178556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1739" y="793210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dlouhodobě roste u dětí ve všech věkových kategoriích nad 5 let. 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E1EDB432-3750-44DF-8475-8C304539F70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247" y="2108867"/>
            <a:ext cx="1674438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983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cs-CZ" dirty="0"/>
              <a:t>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50587" y="203846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9750587" y="234719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9750587" y="265591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9750587" y="296464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9750587" y="327336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90343" y="194379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90343" y="225508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90343" y="25663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990343" y="28776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90343" y="3188959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0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9750587" y="358209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9750587" y="389081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990343" y="3500249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990343" y="3811541"/>
            <a:ext cx="8178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50587" y="1763799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990343" y="1699911"/>
            <a:ext cx="9380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50587" y="1473457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990343" y="1409569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5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50587" y="1187611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90343" y="1123723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5</a:t>
            </a:r>
          </a:p>
        </p:txBody>
      </p:sp>
      <p:sp>
        <p:nvSpPr>
          <p:cNvPr id="41" name="TextBox 29">
            <a:extLst>
              <a:ext uri="{FF2B5EF4-FFF2-40B4-BE49-F238E27FC236}">
                <a16:creationId xmlns:a16="http://schemas.microsoft.com/office/drawing/2014/main" id="{D7315AF9-2D38-4C73-AC60-44D33DB718D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317600" y="982652"/>
            <a:ext cx="15939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 11. 2021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0D28E585-5142-41B3-A6C5-F1019D5E11D7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279291" y="903244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 11. 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33C76758-60D2-4A36-AC7C-53E27C4B3188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9" r="18394"/>
          <a:stretch/>
        </p:blipFill>
        <p:spPr>
          <a:xfrm>
            <a:off x="3716323" y="1293000"/>
            <a:ext cx="3463570" cy="2160000"/>
          </a:xfrm>
          <a:prstGeom prst="rect">
            <a:avLst/>
          </a:prstGeom>
        </p:spPr>
      </p:pic>
      <p:pic>
        <p:nvPicPr>
          <p:cNvPr id="21" name="Picture 20" descr="Map&#10;&#10;Description automatically generated">
            <a:extLst>
              <a:ext uri="{FF2B5EF4-FFF2-40B4-BE49-F238E27FC236}">
                <a16:creationId xmlns:a16="http://schemas.microsoft.com/office/drawing/2014/main" id="{FAE4AEF5-461D-4CF9-B35C-FD914DB522FC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91" r="18739"/>
          <a:stretch/>
        </p:blipFill>
        <p:spPr>
          <a:xfrm>
            <a:off x="184264" y="1393179"/>
            <a:ext cx="3418245" cy="2160000"/>
          </a:xfrm>
          <a:prstGeom prst="rect">
            <a:avLst/>
          </a:prstGeom>
        </p:spPr>
      </p:pic>
      <p:sp>
        <p:nvSpPr>
          <p:cNvPr id="32" name="Podnadpis 2">
            <a:extLst>
              <a:ext uri="{FF2B5EF4-FFF2-40B4-BE49-F238E27FC236}">
                <a16:creationId xmlns:a16="http://schemas.microsoft.com/office/drawing/2014/main" id="{4CA5C962-F0A4-4222-B021-B13612E4788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6851971" y="5384543"/>
            <a:ext cx="5406901" cy="16571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map je patrný růst virové zátěže v okresech Moravskoslezského, Jihomoravského, Olomouckého, Jihočeského kraje a v Praze. Naopak virová zátěž je stále dlouhodobě nižší na severu a západě republiky (kraje Královéhradecký, Liberecký a Karlovarský)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Obrázek 33">
            <a:extLst>
              <a:ext uri="{FF2B5EF4-FFF2-40B4-BE49-F238E27FC236}">
                <a16:creationId xmlns:a16="http://schemas.microsoft.com/office/drawing/2014/main" id="{9706BE81-CBC5-4446-ADEB-F804D449F9EE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317600" y="4270179"/>
            <a:ext cx="3508075" cy="2171045"/>
          </a:xfrm>
          <a:prstGeom prst="rect">
            <a:avLst/>
          </a:prstGeom>
        </p:spPr>
      </p:pic>
      <p:sp>
        <p:nvSpPr>
          <p:cNvPr id="35" name="TextBox 29">
            <a:extLst>
              <a:ext uri="{FF2B5EF4-FFF2-40B4-BE49-F238E27FC236}">
                <a16:creationId xmlns:a16="http://schemas.microsoft.com/office/drawing/2014/main" id="{30EC7AFD-4DD6-4464-8EBD-4C1EA0B7D2D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317600" y="3735677"/>
            <a:ext cx="15939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11. 2021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E17E7A1-BB49-4665-A1E9-ADC239168B64}"/>
              </a:ext>
            </a:extLst>
          </p:cNvPr>
          <p:cNvSpPr txBox="1"/>
          <p:nvPr/>
        </p:nvSpPr>
        <p:spPr>
          <a:xfrm>
            <a:off x="3998030" y="3823101"/>
            <a:ext cx="419593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těž postupuje z východních regionů republiky do Čech 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78C5510E-E197-462C-8D79-67050A4B6B52}"/>
              </a:ext>
            </a:extLst>
          </p:cNvPr>
          <p:cNvSpPr/>
          <p:nvPr/>
        </p:nvSpPr>
        <p:spPr>
          <a:xfrm>
            <a:off x="-73501" y="6656299"/>
            <a:ext cx="2610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4057146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>
            <p:extLst/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05326" y="82578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37629" y="43883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17372" y="4346588"/>
            <a:ext cx="34227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10581" y="980823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05326" y="105100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10581" y="120413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10581" y="165243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897469" y="150313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1906261" y="1268905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611516" y="1420114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8396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54989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7894622" y="914970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69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897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37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9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7822194" y="578386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F31514D0-6B6B-4DFE-9851-EA31A8D80E45}"/>
              </a:ext>
            </a:extLst>
          </p:cNvPr>
          <p:cNvSpPr txBox="1"/>
          <p:nvPr/>
        </p:nvSpPr>
        <p:spPr>
          <a:xfrm>
            <a:off x="1370195" y="2289300"/>
            <a:ext cx="65244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k brzkému překročení hranice 1 300 nových případů na 100 tis. obyvatel týd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150B6D9-DF79-4F5B-A9D4-EAD29D736503}"/>
              </a:ext>
            </a:extLst>
          </p:cNvPr>
          <p:cNvCxnSpPr>
            <a:cxnSpLocks/>
          </p:cNvCxnSpPr>
          <p:nvPr/>
        </p:nvCxnSpPr>
        <p:spPr>
          <a:xfrm flipH="1">
            <a:off x="1318586" y="2259646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délník 2">
            <a:extLst>
              <a:ext uri="{FF2B5EF4-FFF2-40B4-BE49-F238E27FC236}">
                <a16:creationId xmlns:a16="http://schemas.microsoft.com/office/drawing/2014/main" id="{C01D4120-F033-4BC4-BF67-D4FBE707F6BF}"/>
              </a:ext>
            </a:extLst>
          </p:cNvPr>
          <p:cNvSpPr/>
          <p:nvPr/>
        </p:nvSpPr>
        <p:spPr>
          <a:xfrm>
            <a:off x="-85390" y="6632033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909258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8" name="TextBox 31">
            <a:extLst>
              <a:ext uri="{FF2B5EF4-FFF2-40B4-BE49-F238E27FC236}">
                <a16:creationId xmlns:a16="http://schemas.microsoft.com/office/drawing/2014/main" id="{3EA84E75-EA0F-4608-ABEB-EA0611B2D36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um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9D8F8303-821D-4071-9535-88559C8181E2}"/>
              </a:ext>
            </a:extLst>
          </p:cNvPr>
          <p:cNvSpPr txBox="1"/>
          <p:nvPr/>
        </p:nvSpPr>
        <p:spPr>
          <a:xfrm>
            <a:off x="1104654" y="1993612"/>
            <a:ext cx="569321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1. polovině prosince je možné očekávat až &gt; 7 000 hospitalizací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490D0BCA-DC21-4577-95CC-B9EF0FB6F232}"/>
              </a:ext>
            </a:extLst>
          </p:cNvPr>
          <p:cNvCxnSpPr>
            <a:cxnSpLocks/>
          </p:cNvCxnSpPr>
          <p:nvPr/>
        </p:nvCxnSpPr>
        <p:spPr>
          <a:xfrm flipH="1">
            <a:off x="1049225" y="34395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84A8C2FB-D31C-4C2A-ACAB-62DEB7B1E8B1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A9C80AE2-7036-4FA3-8B55-970457DF75E6}"/>
              </a:ext>
            </a:extLst>
          </p:cNvPr>
          <p:cNvCxnSpPr>
            <a:cxnSpLocks/>
          </p:cNvCxnSpPr>
          <p:nvPr/>
        </p:nvCxnSpPr>
        <p:spPr>
          <a:xfrm flipH="1">
            <a:off x="1058750" y="30204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4" name="Chart 11">
            <a:extLst>
              <a:ext uri="{FF2B5EF4-FFF2-40B4-BE49-F238E27FC236}">
                <a16:creationId xmlns:a16="http://schemas.microsoft.com/office/drawing/2014/main" id="{7FEDA2E1-822B-4686-990C-B2B34ACDC5B7}"/>
              </a:ext>
            </a:extLst>
          </p:cNvPr>
          <p:cNvGraphicFramePr/>
          <p:nvPr>
            <p:extLst/>
          </p:nvPr>
        </p:nvGraphicFramePr>
        <p:xfrm>
          <a:off x="296997" y="1602864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0CB4DFE-CA92-4C31-84A5-77297C80B74E}"/>
              </a:ext>
            </a:extLst>
          </p:cNvPr>
          <p:cNvSpPr/>
          <p:nvPr/>
        </p:nvSpPr>
        <p:spPr>
          <a:xfrm>
            <a:off x="-90770" y="6654674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030879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99E85366-DDD6-4A04-9DD7-40BE2B4B2B88}"/>
              </a:ext>
            </a:extLst>
          </p:cNvPr>
          <p:cNvSpPr txBox="1"/>
          <p:nvPr/>
        </p:nvSpPr>
        <p:spPr>
          <a:xfrm>
            <a:off x="1145436" y="2331510"/>
            <a:ext cx="545830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K počátku prosince je možné očekávat &gt; 1 000 hospitalizací na JIP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C6F93941-39B7-4CA0-B572-A4E70E3B9E1C}"/>
              </a:ext>
            </a:extLst>
          </p:cNvPr>
          <p:cNvCxnSpPr>
            <a:cxnSpLocks/>
          </p:cNvCxnSpPr>
          <p:nvPr/>
        </p:nvCxnSpPr>
        <p:spPr>
          <a:xfrm flipH="1">
            <a:off x="1058750" y="3657559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F367B87B-0C6C-4E6C-9F88-88D28577260C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B38B8B84-6F40-46FB-A3D6-E9F16B1F8A95}"/>
              </a:ext>
            </a:extLst>
          </p:cNvPr>
          <p:cNvCxnSpPr>
            <a:cxnSpLocks/>
          </p:cNvCxnSpPr>
          <p:nvPr/>
        </p:nvCxnSpPr>
        <p:spPr>
          <a:xfrm flipH="1">
            <a:off x="1058750" y="3327524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B0B45742-1B52-447B-AC64-BBF1170E7A2D}"/>
              </a:ext>
            </a:extLst>
          </p:cNvPr>
          <p:cNvGraphicFramePr/>
          <p:nvPr/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C3A34EC-3E1B-4A7D-AA05-6556CC8802FC}"/>
              </a:ext>
            </a:extLst>
          </p:cNvPr>
          <p:cNvSpPr/>
          <p:nvPr/>
        </p:nvSpPr>
        <p:spPr>
          <a:xfrm>
            <a:off x="-49988" y="6665062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261201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situace v Královéhradeckém kraji</a:t>
            </a:r>
            <a:b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k 28. 11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1782512"/>
              </p:ext>
            </p:extLst>
          </p:nvPr>
        </p:nvGraphicFramePr>
        <p:xfrm>
          <a:off x="1656121" y="1960331"/>
          <a:ext cx="9564329" cy="364006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190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41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denní počet nových případů na 100 tis. obyv.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942,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23240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hospitalizova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/>
                        <a:t>286 </a:t>
                      </a:r>
                      <a:r>
                        <a:rPr lang="cs-CZ" dirty="0"/>
                        <a:t>(z toho </a:t>
                      </a:r>
                      <a:r>
                        <a:rPr lang="cs-CZ"/>
                        <a:t>JIP 55)</a:t>
                      </a:r>
                      <a:endParaRPr lang="cs-CZ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458135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potvrzených případů od 1.3.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19.77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449809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vyléče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8.0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6556811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úmrt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89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3192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632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5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2473</Words>
  <Application>Microsoft Office PowerPoint</Application>
  <PresentationFormat>Širokoúhlá obrazovka</PresentationFormat>
  <Paragraphs>650</Paragraphs>
  <Slides>28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28</vt:i4>
      </vt:variant>
    </vt:vector>
  </HeadingPairs>
  <TitlesOfParts>
    <vt:vector size="41" baseType="lpstr">
      <vt:lpstr>Arial</vt:lpstr>
      <vt:lpstr>Calibri</vt:lpstr>
      <vt:lpstr>Calibri Light</vt:lpstr>
      <vt:lpstr>Franklin Gothic Book</vt:lpstr>
      <vt:lpstr>Franklin Gothic Demi</vt:lpstr>
      <vt:lpstr>Franklin Gothic Medium</vt:lpstr>
      <vt:lpstr>System Font Regular</vt:lpstr>
      <vt:lpstr>Motiv Office</vt:lpstr>
      <vt:lpstr>2_Motiv Office</vt:lpstr>
      <vt:lpstr>7_Motiv Office</vt:lpstr>
      <vt:lpstr>3_Motiv Office</vt:lpstr>
      <vt:lpstr>4_Motiv Office</vt:lpstr>
      <vt:lpstr>5_Motiv Office</vt:lpstr>
      <vt:lpstr>Přehled epidemické situace a stavu očkování v Královéhradeckém kraji</vt:lpstr>
      <vt:lpstr>Prezentace aplikace PowerPoint</vt:lpstr>
      <vt:lpstr>Počty COVID-19 pozitivních v ČR na 100 000 v populaci</vt:lpstr>
      <vt:lpstr>Počty COVID-19 pozitivních v ČR na 100 000 v populaci</vt:lpstr>
      <vt:lpstr>7 denní počet nových případů (na 100 000 obyv.) v ORP</vt:lpstr>
      <vt:lpstr>7denní hodnoty na 100 tisíc obyvatel: krátkodobá projekce vývoje </vt:lpstr>
      <vt:lpstr>Predikce celkového počtu hospitalizací – aktuální počet léčených </vt:lpstr>
      <vt:lpstr>Predikce počtu pacientů na JIP – aktuální počet případů </vt:lpstr>
      <vt:lpstr>Aktuální situace v Královéhradeckém kraji k 28. 11. 2021</vt:lpstr>
      <vt:lpstr>Situace v Královéhradeckém kraji</vt:lpstr>
      <vt:lpstr>Situace v Královéhradeckém kraji zač. r. 2021</vt:lpstr>
      <vt:lpstr>Denní počty nově zjištěných C+ v KHK kraji</vt:lpstr>
      <vt:lpstr>Vývoj v Královéhradeckém kraji</vt:lpstr>
      <vt:lpstr>Vývoj v okresech KHK</vt:lpstr>
      <vt:lpstr>Kapacita lůžkové péče C+ (bez lůžek následné péče)</vt:lpstr>
      <vt:lpstr>Monoklonální protilátky</vt:lpstr>
      <vt:lpstr>Nasazení armády ČR</vt:lpstr>
      <vt:lpstr>Informace k dalšímu zatížení nemocnic</vt:lpstr>
      <vt:lpstr>Další opatření</vt:lpstr>
      <vt:lpstr>Plošné testování ve školách 29. 11. 2021</vt:lpstr>
      <vt:lpstr>Situace v pobytových službách k 28. 11. 2021</vt:lpstr>
      <vt:lpstr>Počet očkování</vt:lpstr>
      <vt:lpstr>Počet ukončených očkování</vt:lpstr>
      <vt:lpstr>Očkování podle  okresů</vt:lpstr>
      <vt:lpstr>Podíl očkovaných v KHK kraji podle věku </vt:lpstr>
      <vt:lpstr>Praktičtí lékaři – dávky k 29. 11. 2021</vt:lpstr>
      <vt:lpstr>Informace COVID-19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čkovací strategie Královéhradeckého kraje</dc:title>
  <dc:creator>Pejšek Miroslav Ing.</dc:creator>
  <cp:lastModifiedBy>Malíř Radek Mgr.</cp:lastModifiedBy>
  <cp:revision>493</cp:revision>
  <cp:lastPrinted>2021-11-30T12:27:32Z</cp:lastPrinted>
  <dcterms:created xsi:type="dcterms:W3CDTF">2021-01-14T19:24:21Z</dcterms:created>
  <dcterms:modified xsi:type="dcterms:W3CDTF">2021-11-30T12:28:41Z</dcterms:modified>
</cp:coreProperties>
</file>